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1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2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3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4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5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6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20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4" r:id="rId5"/>
    <p:sldMasterId id="2147483687" r:id="rId6"/>
    <p:sldMasterId id="2147483691" r:id="rId7"/>
    <p:sldMasterId id="2147483698" r:id="rId8"/>
    <p:sldMasterId id="2147483711" r:id="rId9"/>
    <p:sldMasterId id="2147483721" r:id="rId10"/>
    <p:sldMasterId id="2147483735" r:id="rId11"/>
    <p:sldMasterId id="2147483819" r:id="rId12"/>
    <p:sldMasterId id="2147483887" r:id="rId13"/>
    <p:sldMasterId id="2147483873" r:id="rId14"/>
    <p:sldMasterId id="2147483901" r:id="rId15"/>
    <p:sldMasterId id="2147483914" r:id="rId16"/>
    <p:sldMasterId id="2147483927" r:id="rId17"/>
    <p:sldMasterId id="2147483931" r:id="rId18"/>
    <p:sldMasterId id="2147483955" r:id="rId19"/>
    <p:sldMasterId id="2147483961" r:id="rId20"/>
    <p:sldMasterId id="2147483968" r:id="rId21"/>
    <p:sldMasterId id="2147483971" r:id="rId22"/>
    <p:sldMasterId id="2147483972" r:id="rId23"/>
    <p:sldMasterId id="2147484005" r:id="rId24"/>
  </p:sldMasterIdLst>
  <p:notesMasterIdLst>
    <p:notesMasterId r:id="rId30"/>
  </p:notesMasterIdLst>
  <p:handoutMasterIdLst>
    <p:handoutMasterId r:id="rId31"/>
  </p:handoutMasterIdLst>
  <p:sldIdLst>
    <p:sldId id="7122" r:id="rId25"/>
    <p:sldId id="7153" r:id="rId26"/>
    <p:sldId id="7154" r:id="rId27"/>
    <p:sldId id="7155" r:id="rId28"/>
    <p:sldId id="6797" r:id="rId29"/>
  </p:sldIdLst>
  <p:sldSz cx="12192000" cy="6858000"/>
  <p:notesSz cx="6797675" cy="9928225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42" userDrawn="1">
          <p15:clr>
            <a:srgbClr val="A4A3A4"/>
          </p15:clr>
        </p15:guide>
        <p15:guide id="2" orient="horz" pos="600" userDrawn="1">
          <p15:clr>
            <a:srgbClr val="A4A3A4"/>
          </p15:clr>
        </p15:guide>
        <p15:guide id="3" pos="1776" userDrawn="1">
          <p15:clr>
            <a:srgbClr val="A4A3A4"/>
          </p15:clr>
        </p15:guide>
        <p15:guide id="4" pos="70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ONA.J.WANG 王錦" initials="F王" lastIdx="1" clrIdx="0">
    <p:extLst>
      <p:ext uri="{19B8F6BF-5375-455C-9EA6-DF929625EA0E}">
        <p15:presenceInfo xmlns:p15="http://schemas.microsoft.com/office/powerpoint/2012/main" userId="S::FIONA.J.WANG@deltaww.com::18722def-5f9f-4992-b7a8-efcd3b83068a" providerId="AD"/>
      </p:ext>
    </p:extLst>
  </p:cmAuthor>
  <p:cmAuthor id="2" name="Muna Taarland" initials="MT" lastIdx="1" clrIdx="1">
    <p:extLst>
      <p:ext uri="{19B8F6BF-5375-455C-9EA6-DF929625EA0E}">
        <p15:presenceInfo xmlns:p15="http://schemas.microsoft.com/office/powerpoint/2012/main" userId="S::mutano@deltaww.com::769466f9-5cd5-4f8b-a414-a4597798331a" providerId="AD"/>
      </p:ext>
    </p:extLst>
  </p:cmAuthor>
  <p:cmAuthor id="3" name="Jay.Jie.Zhou 周潔" initials="J周" lastIdx="2" clrIdx="2">
    <p:extLst>
      <p:ext uri="{19B8F6BF-5375-455C-9EA6-DF929625EA0E}">
        <p15:presenceInfo xmlns:p15="http://schemas.microsoft.com/office/powerpoint/2012/main" userId="S::Jay.Jie.Zhou@deltaww.com::760ffc63066d1f9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DC"/>
    <a:srgbClr val="3A7DA8"/>
    <a:srgbClr val="ECCECC"/>
    <a:srgbClr val="F7EAE9"/>
    <a:srgbClr val="66CCFF"/>
    <a:srgbClr val="FFCCFF"/>
    <a:srgbClr val="404040"/>
    <a:srgbClr val="4F81BD"/>
    <a:srgbClr val="9BBB59"/>
    <a:srgbClr val="4BAC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5D1F21-A33A-48B9-B4DD-65177C78E1CD}" v="630" dt="2024-11-25T01:13:31.4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16" autoAdjust="0"/>
    <p:restoredTop sz="84941" autoAdjust="0"/>
  </p:normalViewPr>
  <p:slideViewPr>
    <p:cSldViewPr snapToGrid="0">
      <p:cViewPr varScale="1">
        <p:scale>
          <a:sx n="96" d="100"/>
          <a:sy n="96" d="100"/>
        </p:scale>
        <p:origin x="1308" y="78"/>
      </p:cViewPr>
      <p:guideLst>
        <p:guide pos="642"/>
        <p:guide orient="horz" pos="600"/>
        <p:guide pos="1776"/>
        <p:guide pos="70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939"/>
    </p:cViewPr>
  </p:sorterViewPr>
  <p:notesViewPr>
    <p:cSldViewPr snapToGrid="0">
      <p:cViewPr varScale="1">
        <p:scale>
          <a:sx n="81" d="100"/>
          <a:sy n="81" d="100"/>
        </p:scale>
        <p:origin x="399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2.xml"/><Relationship Id="rId21" Type="http://schemas.openxmlformats.org/officeDocument/2006/relationships/slideMaster" Target="slideMasters/slideMaster18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1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4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RIS.WANG 王柏樺" userId="c5c44bbf-4402-4024-9f65-8f1484055d23" providerId="ADAL" clId="{07245E60-747F-4A76-A938-D8771426C4EA}"/>
    <pc:docChg chg="custSel modSld">
      <pc:chgData name="BORIS.WANG 王柏樺" userId="c5c44bbf-4402-4024-9f65-8f1484055d23" providerId="ADAL" clId="{07245E60-747F-4A76-A938-D8771426C4EA}" dt="2024-09-06T01:52:54.019" v="9" actId="478"/>
      <pc:docMkLst>
        <pc:docMk/>
      </pc:docMkLst>
      <pc:sldChg chg="addSp modSp mod">
        <pc:chgData name="BORIS.WANG 王柏樺" userId="c5c44bbf-4402-4024-9f65-8f1484055d23" providerId="ADAL" clId="{07245E60-747F-4A76-A938-D8771426C4EA}" dt="2024-09-06T01:36:46.167" v="7" actId="1076"/>
        <pc:sldMkLst>
          <pc:docMk/>
          <pc:sldMk cId="3417539475" sldId="7121"/>
        </pc:sldMkLst>
        <pc:spChg chg="add mod">
          <ac:chgData name="BORIS.WANG 王柏樺" userId="c5c44bbf-4402-4024-9f65-8f1484055d23" providerId="ADAL" clId="{07245E60-747F-4A76-A938-D8771426C4EA}" dt="2024-09-06T01:36:42.702" v="5" actId="14100"/>
          <ac:spMkLst>
            <pc:docMk/>
            <pc:sldMk cId="3417539475" sldId="7121"/>
            <ac:spMk id="5" creationId="{191ED749-8DB1-5D53-186B-37916637B11F}"/>
          </ac:spMkLst>
        </pc:spChg>
        <pc:spChg chg="add mod">
          <ac:chgData name="BORIS.WANG 王柏樺" userId="c5c44bbf-4402-4024-9f65-8f1484055d23" providerId="ADAL" clId="{07245E60-747F-4A76-A938-D8771426C4EA}" dt="2024-09-06T01:36:46.167" v="7" actId="1076"/>
          <ac:spMkLst>
            <pc:docMk/>
            <pc:sldMk cId="3417539475" sldId="7121"/>
            <ac:spMk id="6" creationId="{0F849D19-8C1E-80F8-A154-4379789BDB55}"/>
          </ac:spMkLst>
        </pc:spChg>
      </pc:sldChg>
      <pc:sldChg chg="modNotesTx">
        <pc:chgData name="BORIS.WANG 王柏樺" userId="c5c44bbf-4402-4024-9f65-8f1484055d23" providerId="ADAL" clId="{07245E60-747F-4A76-A938-D8771426C4EA}" dt="2024-09-06T01:30:48.045" v="0" actId="20577"/>
        <pc:sldMkLst>
          <pc:docMk/>
          <pc:sldMk cId="3203831614" sldId="7131"/>
        </pc:sldMkLst>
      </pc:sldChg>
      <pc:sldChg chg="addSp delSp modSp mod">
        <pc:chgData name="BORIS.WANG 王柏樺" userId="c5c44bbf-4402-4024-9f65-8f1484055d23" providerId="ADAL" clId="{07245E60-747F-4A76-A938-D8771426C4EA}" dt="2024-09-06T01:52:54.019" v="9" actId="478"/>
        <pc:sldMkLst>
          <pc:docMk/>
          <pc:sldMk cId="3372266045" sldId="7144"/>
        </pc:sldMkLst>
        <pc:graphicFrameChg chg="add del modGraphic">
          <ac:chgData name="BORIS.WANG 王柏樺" userId="c5c44bbf-4402-4024-9f65-8f1484055d23" providerId="ADAL" clId="{07245E60-747F-4A76-A938-D8771426C4EA}" dt="2024-09-06T01:52:54.019" v="9" actId="478"/>
          <ac:graphicFrameMkLst>
            <pc:docMk/>
            <pc:sldMk cId="3372266045" sldId="7144"/>
            <ac:graphicFrameMk id="11" creationId="{83106F5B-53F0-3A1D-DFBE-16BC20FC49E0}"/>
          </ac:graphicFrameMkLst>
        </pc:graphicFrameChg>
      </pc:sldChg>
    </pc:docChg>
  </pc:docChgLst>
  <pc:docChgLst>
    <pc:chgData name="BORIS.WANG 王柏樺" userId="c5c44bbf-4402-4024-9f65-8f1484055d23" providerId="ADAL" clId="{5BAAF78D-6BD5-4044-8E37-5AD213C67C14}"/>
    <pc:docChg chg="undo custSel addSld delSld modSld sldOrd">
      <pc:chgData name="BORIS.WANG 王柏樺" userId="c5c44bbf-4402-4024-9f65-8f1484055d23" providerId="ADAL" clId="{5BAAF78D-6BD5-4044-8E37-5AD213C67C14}" dt="2024-10-21T02:47:38.622" v="2136" actId="14100"/>
      <pc:docMkLst>
        <pc:docMk/>
      </pc:docMkLst>
      <pc:sldChg chg="add del modNotesTx">
        <pc:chgData name="BORIS.WANG 王柏樺" userId="c5c44bbf-4402-4024-9f65-8f1484055d23" providerId="ADAL" clId="{5BAAF78D-6BD5-4044-8E37-5AD213C67C14}" dt="2024-10-21T02:45:35.216" v="2118" actId="20577"/>
        <pc:sldMkLst>
          <pc:docMk/>
          <pc:sldMk cId="2794985988" sldId="6797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417539475" sldId="7121"/>
        </pc:sldMkLst>
      </pc:sldChg>
      <pc:sldChg chg="modSp mod modNotesTx">
        <pc:chgData name="BORIS.WANG 王柏樺" userId="c5c44bbf-4402-4024-9f65-8f1484055d23" providerId="ADAL" clId="{5BAAF78D-6BD5-4044-8E37-5AD213C67C14}" dt="2024-10-21T02:17:25.666" v="563"/>
        <pc:sldMkLst>
          <pc:docMk/>
          <pc:sldMk cId="68451804" sldId="7122"/>
        </pc:sldMkLst>
        <pc:spChg chg="mod">
          <ac:chgData name="BORIS.WANG 王柏樺" userId="c5c44bbf-4402-4024-9f65-8f1484055d23" providerId="ADAL" clId="{5BAAF78D-6BD5-4044-8E37-5AD213C67C14}" dt="2024-10-21T02:15:17.171" v="491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5BAAF78D-6BD5-4044-8E37-5AD213C67C14}" dt="2024-10-21T02:15:55.252" v="501" actId="20577"/>
          <ac:spMkLst>
            <pc:docMk/>
            <pc:sldMk cId="68451804" sldId="7122"/>
            <ac:spMk id="17" creationId="{C318173E-55E3-4CBB-A7E2-33A1735C03D6}"/>
          </ac:spMkLst>
        </pc:sp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995638820" sldId="7124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2071955140" sldId="712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203831614" sldId="7131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71556824" sldId="7133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712914876" sldId="713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328965488" sldId="7138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130892009" sldId="7139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218949006" sldId="714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046405777" sldId="7141"/>
        </pc:sldMkLst>
      </pc:sldChg>
      <pc:sldChg chg="addSp delSp modSp mod modNotesTx">
        <pc:chgData name="BORIS.WANG 王柏樺" userId="c5c44bbf-4402-4024-9f65-8f1484055d23" providerId="ADAL" clId="{5BAAF78D-6BD5-4044-8E37-5AD213C67C14}" dt="2024-10-21T02:34:27.846" v="1522" actId="14100"/>
        <pc:sldMkLst>
          <pc:docMk/>
          <pc:sldMk cId="3265155510" sldId="7143"/>
        </pc:sldMkLst>
        <pc:spChg chg="del">
          <ac:chgData name="BORIS.WANG 王柏樺" userId="c5c44bbf-4402-4024-9f65-8f1484055d23" providerId="ADAL" clId="{5BAAF78D-6BD5-4044-8E37-5AD213C67C14}" dt="2024-10-18T08:46:54.820" v="0" actId="478"/>
          <ac:spMkLst>
            <pc:docMk/>
            <pc:sldMk cId="3265155510" sldId="7143"/>
            <ac:spMk id="2" creationId="{1D5532FE-4B9B-7104-4C5F-E8FB85B2D6E0}"/>
          </ac:spMkLst>
        </pc:spChg>
        <pc:spChg chg="add mod">
          <ac:chgData name="BORIS.WANG 王柏樺" userId="c5c44bbf-4402-4024-9f65-8f1484055d23" providerId="ADAL" clId="{5BAAF78D-6BD5-4044-8E37-5AD213C67C14}" dt="2024-10-21T02:15:48.543" v="497" actId="20577"/>
          <ac:spMkLst>
            <pc:docMk/>
            <pc:sldMk cId="3265155510" sldId="7143"/>
            <ac:spMk id="5" creationId="{9E18E9E2-5C18-4DCA-A6C4-D2C2072CDB4D}"/>
          </ac:spMkLst>
        </pc:spChg>
        <pc:spChg chg="add mod">
          <ac:chgData name="BORIS.WANG 王柏樺" userId="c5c44bbf-4402-4024-9f65-8f1484055d23" providerId="ADAL" clId="{5BAAF78D-6BD5-4044-8E37-5AD213C67C14}" dt="2024-10-18T08:48:42.342" v="43" actId="14100"/>
          <ac:spMkLst>
            <pc:docMk/>
            <pc:sldMk cId="3265155510" sldId="7143"/>
            <ac:spMk id="8" creationId="{1F16FCCD-EFFF-CC3F-7CAA-FDD51748E757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3" creationId="{EAF50D58-86B3-2433-A805-17C88E4B5A51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4" creationId="{752B1771-AAD6-4409-593C-2FC5071F4329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5" creationId="{5FE7A1DC-9A98-59EB-03C4-9112A905C2CA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6" creationId="{54BDF523-DD2D-5394-3C0D-FE8296B32725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17" creationId="{5FB1031D-37F0-7009-63F4-C310ED6CEF1A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2" creationId="{AE383A67-EB5D-4EE7-E5DA-52EAACB7D331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3" creationId="{11EAD902-0BA3-E46B-0439-B5D59D313EDD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27" creationId="{86BA8A5D-DD2C-69F4-5FB9-EA364848BBC8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1" creationId="{191576B2-74A2-D215-4218-3863766309B3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5" creationId="{C2703D7E-0162-1321-BC21-F81F66734A85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39" creationId="{A639557E-0023-7F64-E7AB-278348C52133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43" creationId="{EC269B63-1FC8-8784-D6FC-05776FA28A60}"/>
          </ac:spMkLst>
        </pc:spChg>
        <pc:spChg chg="del">
          <ac:chgData name="BORIS.WANG 王柏樺" userId="c5c44bbf-4402-4024-9f65-8f1484055d23" providerId="ADAL" clId="{5BAAF78D-6BD5-4044-8E37-5AD213C67C14}" dt="2024-10-18T08:47:02.007" v="17" actId="478"/>
          <ac:spMkLst>
            <pc:docMk/>
            <pc:sldMk cId="3265155510" sldId="7143"/>
            <ac:spMk id="70" creationId="{1377F866-4083-36EC-7F5A-F6B44A0E7F79}"/>
          </ac:spMkLst>
        </pc:s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10" creationId="{85849E29-1717-B121-7CA8-7A9F48F5C5AA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19" creationId="{D52555C9-9361-0B7C-FFE9-7B8F42D0D751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54" creationId="{2E72F33C-6B1B-3D90-A096-7A69A4EB9069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59" creationId="{9C49CE36-7790-56DA-F398-D1E68ACEA560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3" creationId="{4CAD3C9F-F3EA-353C-F86F-552FA2C4F4E3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6" creationId="{D9B6BB3B-0C18-8F44-B2E9-58F37F0959DC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79" creationId="{7FD3CC7D-BB65-D93C-75CC-F8A2ED000FF4}"/>
          </ac:grpSpMkLst>
        </pc:grpChg>
        <pc:grpChg chg="del">
          <ac:chgData name="BORIS.WANG 王柏樺" userId="c5c44bbf-4402-4024-9f65-8f1484055d23" providerId="ADAL" clId="{5BAAF78D-6BD5-4044-8E37-5AD213C67C14}" dt="2024-10-18T08:47:02.007" v="17" actId="478"/>
          <ac:grpSpMkLst>
            <pc:docMk/>
            <pc:sldMk cId="3265155510" sldId="7143"/>
            <ac:grpSpMk id="82" creationId="{CB863CDF-BF0D-93A4-A7E0-98CC9BD5D5BE}"/>
          </ac:grpSpMkLst>
        </pc:grpChg>
        <pc:picChg chg="add mod">
          <ac:chgData name="BORIS.WANG 王柏樺" userId="c5c44bbf-4402-4024-9f65-8f1484055d23" providerId="ADAL" clId="{5BAAF78D-6BD5-4044-8E37-5AD213C67C14}" dt="2024-10-21T02:34:27.846" v="1522" actId="14100"/>
          <ac:picMkLst>
            <pc:docMk/>
            <pc:sldMk cId="3265155510" sldId="7143"/>
            <ac:picMk id="7" creationId="{A65E6BF0-A595-709B-295C-5AB8762F9E1F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1" creationId="{46FEFF38-D83F-A90C-32D8-4B0A6EF6D63D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3" creationId="{1BD84D40-1F05-DCCB-2D8D-92B3968BE7F4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58" creationId="{8E070A3F-CC45-E3A8-DFCE-ACBABAE90938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5" creationId="{98814C77-ED8E-6B66-4D80-3C967BA06C5C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7" creationId="{726F90A6-0C80-8A26-33F3-EF32BC940C92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69" creationId="{C1742F90-CFA8-9B8E-88BE-CA828AD072FB}"/>
          </ac:picMkLst>
        </pc:picChg>
        <pc:picChg chg="del">
          <ac:chgData name="BORIS.WANG 王柏樺" userId="c5c44bbf-4402-4024-9f65-8f1484055d23" providerId="ADAL" clId="{5BAAF78D-6BD5-4044-8E37-5AD213C67C14}" dt="2024-10-18T08:47:02.007" v="17" actId="478"/>
          <ac:picMkLst>
            <pc:docMk/>
            <pc:sldMk cId="3265155510" sldId="7143"/>
            <ac:picMk id="72" creationId="{0FB38701-34A1-ED41-DB8C-8D27D216B01C}"/>
          </ac:picMkLst>
        </pc:picChg>
      </pc:sldChg>
      <pc:sldChg chg="modSp add del mod">
        <pc:chgData name="BORIS.WANG 王柏樺" userId="c5c44bbf-4402-4024-9f65-8f1484055d23" providerId="ADAL" clId="{5BAAF78D-6BD5-4044-8E37-5AD213C67C14}" dt="2024-10-18T09:00:14.318" v="335" actId="47"/>
        <pc:sldMkLst>
          <pc:docMk/>
          <pc:sldMk cId="1358666582" sldId="7144"/>
        </pc:sldMkLst>
        <pc:spChg chg="mod">
          <ac:chgData name="BORIS.WANG 王柏樺" userId="c5c44bbf-4402-4024-9f65-8f1484055d23" providerId="ADAL" clId="{5BAAF78D-6BD5-4044-8E37-5AD213C67C14}" dt="2024-10-18T08:50:06.840" v="176" actId="20577"/>
          <ac:spMkLst>
            <pc:docMk/>
            <pc:sldMk cId="1358666582" sldId="7144"/>
            <ac:spMk id="5" creationId="{9E18E9E2-5C18-4DCA-A6C4-D2C2072CDB4D}"/>
          </ac:spMkLst>
        </pc:sp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372266045" sldId="7144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1:51.715" v="1380"/>
        <pc:sldMkLst>
          <pc:docMk/>
          <pc:sldMk cId="1190881560" sldId="7145"/>
        </pc:sldMkLst>
        <pc:spChg chg="mod">
          <ac:chgData name="BORIS.WANG 王柏樺" userId="c5c44bbf-4402-4024-9f65-8f1484055d23" providerId="ADAL" clId="{5BAAF78D-6BD5-4044-8E37-5AD213C67C14}" dt="2024-10-21T02:15:59.435" v="505" actId="20577"/>
          <ac:spMkLst>
            <pc:docMk/>
            <pc:sldMk cId="1190881560" sldId="7145"/>
            <ac:spMk id="5" creationId="{9E18E9E2-5C18-4DCA-A6C4-D2C2072CDB4D}"/>
          </ac:spMkLst>
        </pc:spChg>
        <pc:spChg chg="mod">
          <ac:chgData name="BORIS.WANG 王柏樺" userId="c5c44bbf-4402-4024-9f65-8f1484055d23" providerId="ADAL" clId="{5BAAF78D-6BD5-4044-8E37-5AD213C67C14}" dt="2024-10-18T08:51:01.393" v="185" actId="14100"/>
          <ac:spMkLst>
            <pc:docMk/>
            <pc:sldMk cId="1190881560" sldId="7145"/>
            <ac:spMk id="8" creationId="{1F16FCCD-EFFF-CC3F-7CAA-FDD51748E757}"/>
          </ac:spMkLst>
        </pc:spChg>
        <pc:picChg chg="add mod ord">
          <ac:chgData name="BORIS.WANG 王柏樺" userId="c5c44bbf-4402-4024-9f65-8f1484055d23" providerId="ADAL" clId="{5BAAF78D-6BD5-4044-8E37-5AD213C67C14}" dt="2024-10-18T08:50:57.408" v="183" actId="167"/>
          <ac:picMkLst>
            <pc:docMk/>
            <pc:sldMk cId="1190881560" sldId="7145"/>
            <ac:picMk id="3" creationId="{18228830-A431-5B04-0DC7-E7304AB0B5FC}"/>
          </ac:picMkLst>
        </pc:picChg>
        <pc:picChg chg="del">
          <ac:chgData name="BORIS.WANG 王柏樺" userId="c5c44bbf-4402-4024-9f65-8f1484055d23" providerId="ADAL" clId="{5BAAF78D-6BD5-4044-8E37-5AD213C67C14}" dt="2024-10-18T08:50:46.160" v="178" actId="478"/>
          <ac:picMkLst>
            <pc:docMk/>
            <pc:sldMk cId="1190881560" sldId="7145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306778190" sldId="7145"/>
        </pc:sldMkLst>
      </pc:sldChg>
      <pc:sldChg chg="addSp delSp modSp add del mod">
        <pc:chgData name="BORIS.WANG 王柏樺" userId="c5c44bbf-4402-4024-9f65-8f1484055d23" providerId="ADAL" clId="{5BAAF78D-6BD5-4044-8E37-5AD213C67C14}" dt="2024-10-18T08:54:40.897" v="248" actId="47"/>
        <pc:sldMkLst>
          <pc:docMk/>
          <pc:sldMk cId="512666085" sldId="7146"/>
        </pc:sldMkLst>
        <pc:spChg chg="add mod">
          <ac:chgData name="BORIS.WANG 王柏樺" userId="c5c44bbf-4402-4024-9f65-8f1484055d23" providerId="ADAL" clId="{5BAAF78D-6BD5-4044-8E37-5AD213C67C14}" dt="2024-10-18T08:53:46.004" v="240" actId="20577"/>
          <ac:spMkLst>
            <pc:docMk/>
            <pc:sldMk cId="512666085" sldId="7146"/>
            <ac:spMk id="7" creationId="{DDE63870-3244-A483-9B7D-D02BFD688505}"/>
          </ac:spMkLst>
        </pc:spChg>
        <pc:spChg chg="del">
          <ac:chgData name="BORIS.WANG 王柏樺" userId="c5c44bbf-4402-4024-9f65-8f1484055d23" providerId="ADAL" clId="{5BAAF78D-6BD5-4044-8E37-5AD213C67C14}" dt="2024-10-18T08:53:05.371" v="188" actId="478"/>
          <ac:spMkLst>
            <pc:docMk/>
            <pc:sldMk cId="512666085" sldId="7146"/>
            <ac:spMk id="8" creationId="{1F16FCCD-EFFF-CC3F-7CAA-FDD51748E757}"/>
          </ac:spMkLst>
        </pc:spChg>
        <pc:picChg chg="del">
          <ac:chgData name="BORIS.WANG 王柏樺" userId="c5c44bbf-4402-4024-9f65-8f1484055d23" providerId="ADAL" clId="{5BAAF78D-6BD5-4044-8E37-5AD213C67C14}" dt="2024-10-18T08:53:03.795" v="187" actId="478"/>
          <ac:picMkLst>
            <pc:docMk/>
            <pc:sldMk cId="512666085" sldId="7146"/>
            <ac:picMk id="3" creationId="{18228830-A431-5B04-0DC7-E7304AB0B5FC}"/>
          </ac:picMkLst>
        </pc:picChg>
        <pc:picChg chg="add mod">
          <ac:chgData name="BORIS.WANG 王柏樺" userId="c5c44bbf-4402-4024-9f65-8f1484055d23" providerId="ADAL" clId="{5BAAF78D-6BD5-4044-8E37-5AD213C67C14}" dt="2024-10-18T08:53:26.669" v="197" actId="1076"/>
          <ac:picMkLst>
            <pc:docMk/>
            <pc:sldMk cId="512666085" sldId="7146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629440781" sldId="714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3806578" sldId="7147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9:23.847" v="1709" actId="12"/>
        <pc:sldMkLst>
          <pc:docMk/>
          <pc:sldMk cId="2473368254" sldId="7147"/>
        </pc:sldMkLst>
        <pc:spChg chg="add mod ord">
          <ac:chgData name="BORIS.WANG 王柏樺" userId="c5c44bbf-4402-4024-9f65-8f1484055d23" providerId="ADAL" clId="{5BAAF78D-6BD5-4044-8E37-5AD213C67C14}" dt="2024-10-21T02:39:23.847" v="1709" actId="12"/>
          <ac:spMkLst>
            <pc:docMk/>
            <pc:sldMk cId="2473368254" sldId="7147"/>
            <ac:spMk id="2" creationId="{904C6D90-3934-2CEB-89BB-40AF1DC4B094}"/>
          </ac:spMkLst>
        </pc:spChg>
        <pc:spChg chg="mod">
          <ac:chgData name="BORIS.WANG 王柏樺" userId="c5c44bbf-4402-4024-9f65-8f1484055d23" providerId="ADAL" clId="{5BAAF78D-6BD5-4044-8E37-5AD213C67C14}" dt="2024-10-21T02:16:03.275" v="509" actId="20577"/>
          <ac:spMkLst>
            <pc:docMk/>
            <pc:sldMk cId="2473368254" sldId="7147"/>
            <ac:spMk id="5" creationId="{9E18E9E2-5C18-4DCA-A6C4-D2C2072CDB4D}"/>
          </ac:spMkLst>
        </pc:spChg>
        <pc:spChg chg="del mod">
          <ac:chgData name="BORIS.WANG 王柏樺" userId="c5c44bbf-4402-4024-9f65-8f1484055d23" providerId="ADAL" clId="{5BAAF78D-6BD5-4044-8E37-5AD213C67C14}" dt="2024-10-21T02:32:18.292" v="1386" actId="478"/>
          <ac:spMkLst>
            <pc:docMk/>
            <pc:sldMk cId="2473368254" sldId="7147"/>
            <ac:spMk id="7" creationId="{DDE63870-3244-A483-9B7D-D02BFD688505}"/>
          </ac:spMkLst>
        </pc:spChg>
        <pc:picChg chg="mod modCrop">
          <ac:chgData name="BORIS.WANG 王柏樺" userId="c5c44bbf-4402-4024-9f65-8f1484055d23" providerId="ADAL" clId="{5BAAF78D-6BD5-4044-8E37-5AD213C67C14}" dt="2024-10-18T09:03:33.743" v="430" actId="1076"/>
          <ac:picMkLst>
            <pc:docMk/>
            <pc:sldMk cId="2473368254" sldId="7147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888625707" sldId="7148"/>
        </pc:sldMkLst>
      </pc:sldChg>
      <pc:sldChg chg="addSp delSp modSp add del mod">
        <pc:chgData name="BORIS.WANG 王柏樺" userId="c5c44bbf-4402-4024-9f65-8f1484055d23" providerId="ADAL" clId="{5BAAF78D-6BD5-4044-8E37-5AD213C67C14}" dt="2024-10-18T08:59:08.034" v="324" actId="47"/>
        <pc:sldMkLst>
          <pc:docMk/>
          <pc:sldMk cId="3679514199" sldId="7148"/>
        </pc:sldMkLst>
        <pc:spChg chg="mod">
          <ac:chgData name="BORIS.WANG 王柏樺" userId="c5c44bbf-4402-4024-9f65-8f1484055d23" providerId="ADAL" clId="{5BAAF78D-6BD5-4044-8E37-5AD213C67C14}" dt="2024-10-18T08:55:42.786" v="269" actId="1076"/>
          <ac:spMkLst>
            <pc:docMk/>
            <pc:sldMk cId="3679514199" sldId="7148"/>
            <ac:spMk id="7" creationId="{DDE63870-3244-A483-9B7D-D02BFD688505}"/>
          </ac:spMkLst>
        </pc:spChg>
        <pc:picChg chg="add mod">
          <ac:chgData name="BORIS.WANG 王柏樺" userId="c5c44bbf-4402-4024-9f65-8f1484055d23" providerId="ADAL" clId="{5BAAF78D-6BD5-4044-8E37-5AD213C67C14}" dt="2024-10-18T08:55:43.087" v="270" actId="1076"/>
          <ac:picMkLst>
            <pc:docMk/>
            <pc:sldMk cId="3679514199" sldId="7148"/>
            <ac:picMk id="3" creationId="{E17E1A70-607F-3440-C983-3CB1FAFBE5F1}"/>
          </ac:picMkLst>
        </pc:picChg>
        <pc:picChg chg="del">
          <ac:chgData name="BORIS.WANG 王柏樺" userId="c5c44bbf-4402-4024-9f65-8f1484055d23" providerId="ADAL" clId="{5BAAF78D-6BD5-4044-8E37-5AD213C67C14}" dt="2024-10-18T08:54:44.819" v="250" actId="478"/>
          <ac:picMkLst>
            <pc:docMk/>
            <pc:sldMk cId="3679514199" sldId="7148"/>
            <ac:picMk id="6" creationId="{B88D4BEE-6699-F62F-E400-E65F0179102E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57560016" sldId="7149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46:54.551" v="2128" actId="207"/>
        <pc:sldMkLst>
          <pc:docMk/>
          <pc:sldMk cId="1649987154" sldId="7149"/>
        </pc:sldMkLst>
        <pc:spChg chg="add mod">
          <ac:chgData name="BORIS.WANG 王柏樺" userId="c5c44bbf-4402-4024-9f65-8f1484055d23" providerId="ADAL" clId="{5BAAF78D-6BD5-4044-8E37-5AD213C67C14}" dt="2024-10-18T08:56:24.796" v="281" actId="164"/>
          <ac:spMkLst>
            <pc:docMk/>
            <pc:sldMk cId="1649987154" sldId="7149"/>
            <ac:spMk id="2" creationId="{B2621A20-4943-148D-E0CF-C143E0D6BE9A}"/>
          </ac:spMkLst>
        </pc:spChg>
        <pc:spChg chg="mod">
          <ac:chgData name="BORIS.WANG 王柏樺" userId="c5c44bbf-4402-4024-9f65-8f1484055d23" providerId="ADAL" clId="{5BAAF78D-6BD5-4044-8E37-5AD213C67C14}" dt="2024-10-21T02:16:07.109" v="513" actId="20577"/>
          <ac:spMkLst>
            <pc:docMk/>
            <pc:sldMk cId="1649987154" sldId="7149"/>
            <ac:spMk id="5" creationId="{9E18E9E2-5C18-4DCA-A6C4-D2C2072CDB4D}"/>
          </ac:spMkLst>
        </pc:spChg>
        <pc:spChg chg="del mod">
          <ac:chgData name="BORIS.WANG 王柏樺" userId="c5c44bbf-4402-4024-9f65-8f1484055d23" providerId="ADAL" clId="{5BAAF78D-6BD5-4044-8E37-5AD213C67C14}" dt="2024-10-21T02:34:53.431" v="1532"/>
          <ac:spMkLst>
            <pc:docMk/>
            <pc:sldMk cId="1649987154" sldId="7149"/>
            <ac:spMk id="7" creationId="{DDE63870-3244-A483-9B7D-D02BFD688505}"/>
          </ac:spMkLst>
        </pc:spChg>
        <pc:spChg chg="add mod ord">
          <ac:chgData name="BORIS.WANG 王柏樺" userId="c5c44bbf-4402-4024-9f65-8f1484055d23" providerId="ADAL" clId="{5BAAF78D-6BD5-4044-8E37-5AD213C67C14}" dt="2024-10-21T02:46:54.551" v="2128" actId="207"/>
          <ac:spMkLst>
            <pc:docMk/>
            <pc:sldMk cId="1649987154" sldId="7149"/>
            <ac:spMk id="8" creationId="{378B132B-9184-922D-F84A-88F4D4D6D39E}"/>
          </ac:spMkLst>
        </pc:spChg>
        <pc:spChg chg="add mod">
          <ac:chgData name="BORIS.WANG 王柏樺" userId="c5c44bbf-4402-4024-9f65-8f1484055d23" providerId="ADAL" clId="{5BAAF78D-6BD5-4044-8E37-5AD213C67C14}" dt="2024-10-18T08:58:32.549" v="297" actId="14100"/>
          <ac:spMkLst>
            <pc:docMk/>
            <pc:sldMk cId="1649987154" sldId="7149"/>
            <ac:spMk id="10" creationId="{874CAED0-F8A5-7996-B2F0-E4E3782FF4D5}"/>
          </ac:spMkLst>
        </pc:spChg>
        <pc:spChg chg="add mod">
          <ac:chgData name="BORIS.WANG 王柏樺" userId="c5c44bbf-4402-4024-9f65-8f1484055d23" providerId="ADAL" clId="{5BAAF78D-6BD5-4044-8E37-5AD213C67C14}" dt="2024-10-18T08:58:52.237" v="322" actId="20577"/>
          <ac:spMkLst>
            <pc:docMk/>
            <pc:sldMk cId="1649987154" sldId="7149"/>
            <ac:spMk id="11" creationId="{5599A6FB-A6DC-89E8-F7D8-F72BCC22382D}"/>
          </ac:spMkLst>
        </pc:spChg>
        <pc:grpChg chg="add mod">
          <ac:chgData name="BORIS.WANG 王柏樺" userId="c5c44bbf-4402-4024-9f65-8f1484055d23" providerId="ADAL" clId="{5BAAF78D-6BD5-4044-8E37-5AD213C67C14}" dt="2024-10-21T02:34:57.584" v="1533" actId="14100"/>
          <ac:grpSpMkLst>
            <pc:docMk/>
            <pc:sldMk cId="1649987154" sldId="7149"/>
            <ac:grpSpMk id="6" creationId="{F0D3824A-685D-9025-97E2-41D4423C9AAA}"/>
          </ac:grpSpMkLst>
        </pc:grpChg>
        <pc:picChg chg="mod modCrop">
          <ac:chgData name="BORIS.WANG 王柏樺" userId="c5c44bbf-4402-4024-9f65-8f1484055d23" providerId="ADAL" clId="{5BAAF78D-6BD5-4044-8E37-5AD213C67C14}" dt="2024-10-18T08:57:56.910" v="290" actId="732"/>
          <ac:picMkLst>
            <pc:docMk/>
            <pc:sldMk cId="1649987154" sldId="7149"/>
            <ac:picMk id="3" creationId="{E17E1A70-607F-3440-C983-3CB1FAFBE5F1}"/>
          </ac:picMkLst>
        </pc:picChg>
        <pc:picChg chg="add mod">
          <ac:chgData name="BORIS.WANG 王柏樺" userId="c5c44bbf-4402-4024-9f65-8f1484055d23" providerId="ADAL" clId="{5BAAF78D-6BD5-4044-8E37-5AD213C67C14}" dt="2024-10-18T08:58:23.189" v="294" actId="14100"/>
          <ac:picMkLst>
            <pc:docMk/>
            <pc:sldMk cId="1649987154" sldId="7149"/>
            <ac:picMk id="9" creationId="{730EC89B-872B-FE3C-516C-2D6AF5DFDE2A}"/>
          </ac:picMkLst>
        </pc:picChg>
      </pc:sldChg>
      <pc:sldChg chg="add del">
        <pc:chgData name="BORIS.WANG 王柏樺" userId="c5c44bbf-4402-4024-9f65-8f1484055d23" providerId="ADAL" clId="{5BAAF78D-6BD5-4044-8E37-5AD213C67C14}" dt="2024-10-18T09:00:10.252" v="334" actId="47"/>
        <pc:sldMkLst>
          <pc:docMk/>
          <pc:sldMk cId="1513478331" sldId="715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76533501" sldId="7150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463854752" sldId="7151"/>
        </pc:sldMkLst>
      </pc:sldChg>
      <pc:sldChg chg="addSp delSp modSp add mod modClrScheme chgLayout modNotesTx">
        <pc:chgData name="BORIS.WANG 王柏樺" userId="c5c44bbf-4402-4024-9f65-8f1484055d23" providerId="ADAL" clId="{5BAAF78D-6BD5-4044-8E37-5AD213C67C14}" dt="2024-10-21T02:47:38.622" v="2136" actId="14100"/>
        <pc:sldMkLst>
          <pc:docMk/>
          <pc:sldMk cId="4191361572" sldId="7151"/>
        </pc:sldMkLst>
        <pc:spChg chg="add mod">
          <ac:chgData name="BORIS.WANG 王柏樺" userId="c5c44bbf-4402-4024-9f65-8f1484055d23" providerId="ADAL" clId="{5BAAF78D-6BD5-4044-8E37-5AD213C67C14}" dt="2024-10-21T02:39:31.340" v="1711" actId="12"/>
          <ac:spMkLst>
            <pc:docMk/>
            <pc:sldMk cId="4191361572" sldId="7151"/>
            <ac:spMk id="2" creationId="{A7555572-E1CC-1221-E11C-87AAC1F8742E}"/>
          </ac:spMkLst>
        </pc:spChg>
        <pc:spChg chg="add del mod">
          <ac:chgData name="BORIS.WANG 王柏樺" userId="c5c44bbf-4402-4024-9f65-8f1484055d23" providerId="ADAL" clId="{5BAAF78D-6BD5-4044-8E37-5AD213C67C14}" dt="2024-10-18T09:05:19.233" v="455" actId="478"/>
          <ac:spMkLst>
            <pc:docMk/>
            <pc:sldMk cId="4191361572" sldId="7151"/>
            <ac:spMk id="3" creationId="{00D04BD2-C4C5-B95D-9F0F-1DB216385BB8}"/>
          </ac:spMkLst>
        </pc:spChg>
        <pc:spChg chg="mod ord modVis">
          <ac:chgData name="BORIS.WANG 王柏樺" userId="c5c44bbf-4402-4024-9f65-8f1484055d23" providerId="ADAL" clId="{5BAAF78D-6BD5-4044-8E37-5AD213C67C14}" dt="2024-10-18T09:02:53.595" v="420" actId="26606"/>
          <ac:spMkLst>
            <pc:docMk/>
            <pc:sldMk cId="4191361572" sldId="7151"/>
            <ac:spMk id="4" creationId="{39117E77-3437-9489-F435-80D0E748ACDE}"/>
          </ac:spMkLst>
        </pc:spChg>
        <pc:spChg chg="add del mod">
          <ac:chgData name="BORIS.WANG 王柏樺" userId="c5c44bbf-4402-4024-9f65-8f1484055d23" providerId="ADAL" clId="{5BAAF78D-6BD5-4044-8E37-5AD213C67C14}" dt="2024-10-21T02:46:37.946" v="2119" actId="478"/>
          <ac:spMkLst>
            <pc:docMk/>
            <pc:sldMk cId="4191361572" sldId="7151"/>
            <ac:spMk id="5" creationId="{9E18E9E2-5C18-4DCA-A6C4-D2C2072CDB4D}"/>
          </ac:spMkLst>
        </pc:spChg>
        <pc:spChg chg="add del mod">
          <ac:chgData name="BORIS.WANG 王柏樺" userId="c5c44bbf-4402-4024-9f65-8f1484055d23" providerId="ADAL" clId="{5BAAF78D-6BD5-4044-8E37-5AD213C67C14}" dt="2024-10-21T02:46:41.870" v="2125" actId="478"/>
          <ac:spMkLst>
            <pc:docMk/>
            <pc:sldMk cId="4191361572" sldId="7151"/>
            <ac:spMk id="6" creationId="{74F4D401-6565-C927-B721-CAD5171C75A7}"/>
          </ac:spMkLst>
        </pc:spChg>
        <pc:spChg chg="add mod">
          <ac:chgData name="BORIS.WANG 王柏樺" userId="c5c44bbf-4402-4024-9f65-8f1484055d23" providerId="ADAL" clId="{5BAAF78D-6BD5-4044-8E37-5AD213C67C14}" dt="2024-10-18T09:05:18.929" v="454"/>
          <ac:spMkLst>
            <pc:docMk/>
            <pc:sldMk cId="4191361572" sldId="7151"/>
            <ac:spMk id="6" creationId="{A07F2147-33B5-C107-87A5-5981BFA487C1}"/>
          </ac:spMkLst>
        </pc:spChg>
        <pc:spChg chg="add mod">
          <ac:chgData name="BORIS.WANG 王柏樺" userId="c5c44bbf-4402-4024-9f65-8f1484055d23" providerId="ADAL" clId="{5BAAF78D-6BD5-4044-8E37-5AD213C67C14}" dt="2024-10-21T02:46:39.392" v="2124"/>
          <ac:spMkLst>
            <pc:docMk/>
            <pc:sldMk cId="4191361572" sldId="7151"/>
            <ac:spMk id="7" creationId="{B1D04BD7-9828-31CA-DAE5-0337FD7D5D29}"/>
          </ac:spMkLst>
        </pc:spChg>
        <pc:spChg chg="del">
          <ac:chgData name="BORIS.WANG 王柏樺" userId="c5c44bbf-4402-4024-9f65-8f1484055d23" providerId="ADAL" clId="{5BAAF78D-6BD5-4044-8E37-5AD213C67C14}" dt="2024-10-18T09:00:50.302" v="336" actId="478"/>
          <ac:spMkLst>
            <pc:docMk/>
            <pc:sldMk cId="4191361572" sldId="7151"/>
            <ac:spMk id="7" creationId="{DDE63870-3244-A483-9B7D-D02BFD688505}"/>
          </ac:spMkLst>
        </pc:spChg>
        <pc:spChg chg="add mod">
          <ac:chgData name="BORIS.WANG 王柏樺" userId="c5c44bbf-4402-4024-9f65-8f1484055d23" providerId="ADAL" clId="{5BAAF78D-6BD5-4044-8E37-5AD213C67C14}" dt="2024-10-21T02:47:00.197" v="2129" actId="207"/>
          <ac:spMkLst>
            <pc:docMk/>
            <pc:sldMk cId="4191361572" sldId="7151"/>
            <ac:spMk id="8" creationId="{6C097D87-F0BA-CD59-6307-01F9DAC287CD}"/>
          </ac:spMkLst>
        </pc:spChg>
        <pc:spChg chg="add mod">
          <ac:chgData name="BORIS.WANG 王柏樺" userId="c5c44bbf-4402-4024-9f65-8f1484055d23" providerId="ADAL" clId="{5BAAF78D-6BD5-4044-8E37-5AD213C67C14}" dt="2024-10-21T02:47:17.078" v="2130"/>
          <ac:spMkLst>
            <pc:docMk/>
            <pc:sldMk cId="4191361572" sldId="7151"/>
            <ac:spMk id="10" creationId="{84C897A4-A893-6A87-FA28-B8311D285487}"/>
          </ac:spMkLst>
        </pc:spChg>
        <pc:spChg chg="del">
          <ac:chgData name="BORIS.WANG 王柏樺" userId="c5c44bbf-4402-4024-9f65-8f1484055d23" providerId="ADAL" clId="{5BAAF78D-6BD5-4044-8E37-5AD213C67C14}" dt="2024-10-18T09:00:51.341" v="337" actId="478"/>
          <ac:spMkLst>
            <pc:docMk/>
            <pc:sldMk cId="4191361572" sldId="7151"/>
            <ac:spMk id="10" creationId="{874CAED0-F8A5-7996-B2F0-E4E3782FF4D5}"/>
          </ac:spMkLst>
        </pc:spChg>
        <pc:spChg chg="del">
          <ac:chgData name="BORIS.WANG 王柏樺" userId="c5c44bbf-4402-4024-9f65-8f1484055d23" providerId="ADAL" clId="{5BAAF78D-6BD5-4044-8E37-5AD213C67C14}" dt="2024-10-18T09:00:50.302" v="336" actId="478"/>
          <ac:spMkLst>
            <pc:docMk/>
            <pc:sldMk cId="4191361572" sldId="7151"/>
            <ac:spMk id="11" creationId="{5599A6FB-A6DC-89E8-F7D8-F72BCC22382D}"/>
          </ac:spMkLst>
        </pc:spChg>
        <pc:spChg chg="add mod">
          <ac:chgData name="BORIS.WANG 王柏樺" userId="c5c44bbf-4402-4024-9f65-8f1484055d23" providerId="ADAL" clId="{5BAAF78D-6BD5-4044-8E37-5AD213C67C14}" dt="2024-10-21T02:47:38.622" v="2136" actId="14100"/>
          <ac:spMkLst>
            <pc:docMk/>
            <pc:sldMk cId="4191361572" sldId="7151"/>
            <ac:spMk id="11" creationId="{BE7E78E6-1A26-14C5-F0EB-7540784A48B2}"/>
          </ac:spMkLst>
        </pc:spChg>
        <pc:spChg chg="add del mod">
          <ac:chgData name="BORIS.WANG 王柏樺" userId="c5c44bbf-4402-4024-9f65-8f1484055d23" providerId="ADAL" clId="{5BAAF78D-6BD5-4044-8E37-5AD213C67C14}" dt="2024-10-18T09:04:27.111" v="445" actId="478"/>
          <ac:spMkLst>
            <pc:docMk/>
            <pc:sldMk cId="4191361572" sldId="7151"/>
            <ac:spMk id="13" creationId="{B5A0944E-C40C-045B-5FA4-2633DD540B69}"/>
          </ac:spMkLst>
        </pc:spChg>
        <pc:spChg chg="add del mod">
          <ac:chgData name="BORIS.WANG 王柏樺" userId="c5c44bbf-4402-4024-9f65-8f1484055d23" providerId="ADAL" clId="{5BAAF78D-6BD5-4044-8E37-5AD213C67C14}" dt="2024-10-21T02:38:22.655" v="1674"/>
          <ac:spMkLst>
            <pc:docMk/>
            <pc:sldMk cId="4191361572" sldId="7151"/>
            <ac:spMk id="14" creationId="{8F28B6C7-EF51-F3AD-B5C6-3840FB53558D}"/>
          </ac:spMkLst>
        </pc:spChg>
        <pc:grpChg chg="del">
          <ac:chgData name="BORIS.WANG 王柏樺" userId="c5c44bbf-4402-4024-9f65-8f1484055d23" providerId="ADAL" clId="{5BAAF78D-6BD5-4044-8E37-5AD213C67C14}" dt="2024-10-18T09:00:50.302" v="336" actId="478"/>
          <ac:grpSpMkLst>
            <pc:docMk/>
            <pc:sldMk cId="4191361572" sldId="7151"/>
            <ac:grpSpMk id="6" creationId="{F0D3824A-685D-9025-97E2-41D4423C9AAA}"/>
          </ac:grpSpMkLst>
        </pc:grpChg>
        <pc:picChg chg="del">
          <ac:chgData name="BORIS.WANG 王柏樺" userId="c5c44bbf-4402-4024-9f65-8f1484055d23" providerId="ADAL" clId="{5BAAF78D-6BD5-4044-8E37-5AD213C67C14}" dt="2024-10-18T09:00:50.302" v="336" actId="478"/>
          <ac:picMkLst>
            <pc:docMk/>
            <pc:sldMk cId="4191361572" sldId="7151"/>
            <ac:picMk id="9" creationId="{730EC89B-872B-FE3C-516C-2D6AF5DFDE2A}"/>
          </ac:picMkLst>
        </pc:picChg>
        <pc:picChg chg="add mod">
          <ac:chgData name="BORIS.WANG 王柏樺" userId="c5c44bbf-4402-4024-9f65-8f1484055d23" providerId="ADAL" clId="{5BAAF78D-6BD5-4044-8E37-5AD213C67C14}" dt="2024-10-21T02:47:17.078" v="2130"/>
          <ac:picMkLst>
            <pc:docMk/>
            <pc:sldMk cId="4191361572" sldId="7151"/>
            <ac:picMk id="9" creationId="{971B73E3-1D24-01C2-4A7C-907D4C6589DE}"/>
          </ac:picMkLst>
        </pc:picChg>
        <pc:picChg chg="add mod">
          <ac:chgData name="BORIS.WANG 王柏樺" userId="c5c44bbf-4402-4024-9f65-8f1484055d23" providerId="ADAL" clId="{5BAAF78D-6BD5-4044-8E37-5AD213C67C14}" dt="2024-10-18T09:03:51.195" v="433" actId="1076"/>
          <ac:picMkLst>
            <pc:docMk/>
            <pc:sldMk cId="4191361572" sldId="7151"/>
            <ac:picMk id="12" creationId="{D1157777-9835-D3D8-A062-1643E6FB85FD}"/>
          </ac:picMkLst>
        </pc:picChg>
      </pc:sldChg>
      <pc:sldChg chg="delSp add del mod ord">
        <pc:chgData name="BORIS.WANG 王柏樺" userId="c5c44bbf-4402-4024-9f65-8f1484055d23" providerId="ADAL" clId="{5BAAF78D-6BD5-4044-8E37-5AD213C67C14}" dt="2024-10-21T02:20:23.086" v="610" actId="47"/>
        <pc:sldMkLst>
          <pc:docMk/>
          <pc:sldMk cId="58379676" sldId="7152"/>
        </pc:sldMkLst>
        <pc:spChg chg="del">
          <ac:chgData name="BORIS.WANG 王柏樺" userId="c5c44bbf-4402-4024-9f65-8f1484055d23" providerId="ADAL" clId="{5BAAF78D-6BD5-4044-8E37-5AD213C67C14}" dt="2024-10-21T02:20:09.303" v="603" actId="478"/>
          <ac:spMkLst>
            <pc:docMk/>
            <pc:sldMk cId="58379676" sldId="7152"/>
            <ac:spMk id="8" creationId="{1F16FCCD-EFFF-CC3F-7CAA-FDD51748E757}"/>
          </ac:spMkLst>
        </pc:spChg>
        <pc:picChg chg="del">
          <ac:chgData name="BORIS.WANG 王柏樺" userId="c5c44bbf-4402-4024-9f65-8f1484055d23" providerId="ADAL" clId="{5BAAF78D-6BD5-4044-8E37-5AD213C67C14}" dt="2024-10-21T02:20:08.246" v="602" actId="478"/>
          <ac:picMkLst>
            <pc:docMk/>
            <pc:sldMk cId="58379676" sldId="7152"/>
            <ac:picMk id="7" creationId="{A65E6BF0-A595-709B-295C-5AB8762F9E1F}"/>
          </ac:picMkLst>
        </pc:picChg>
      </pc:sldChg>
      <pc:sldChg chg="addSp delSp modSp add del mod ord modClrScheme chgLayout">
        <pc:chgData name="BORIS.WANG 王柏樺" userId="c5c44bbf-4402-4024-9f65-8f1484055d23" providerId="ADAL" clId="{5BAAF78D-6BD5-4044-8E37-5AD213C67C14}" dt="2024-10-21T02:20:04.614" v="598" actId="47"/>
        <pc:sldMkLst>
          <pc:docMk/>
          <pc:sldMk cId="1626005863" sldId="7152"/>
        </pc:sldMkLst>
        <pc:spChg chg="mod ord modVis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4" creationId="{39117E77-3437-9489-F435-80D0E748ACDE}"/>
          </ac:spMkLst>
        </pc:spChg>
        <pc:spChg chg="mod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5" creationId="{9E18E9E2-5C18-4DCA-A6C4-D2C2072CDB4D}"/>
          </ac:spMkLst>
        </pc:spChg>
        <pc:spChg chg="add del">
          <ac:chgData name="BORIS.WANG 王柏樺" userId="c5c44bbf-4402-4024-9f65-8f1484055d23" providerId="ADAL" clId="{5BAAF78D-6BD5-4044-8E37-5AD213C67C14}" dt="2024-10-21T02:20:02.726" v="596" actId="478"/>
          <ac:spMkLst>
            <pc:docMk/>
            <pc:sldMk cId="1626005863" sldId="7152"/>
            <ac:spMk id="8" creationId="{1F16FCCD-EFFF-CC3F-7CAA-FDD51748E757}"/>
          </ac:spMkLst>
        </pc:spChg>
        <pc:spChg chg="add del mod">
          <ac:chgData name="BORIS.WANG 王柏樺" userId="c5c44bbf-4402-4024-9f65-8f1484055d23" providerId="ADAL" clId="{5BAAF78D-6BD5-4044-8E37-5AD213C67C14}" dt="2024-10-21T02:19:57.014" v="587" actId="478"/>
          <ac:spMkLst>
            <pc:docMk/>
            <pc:sldMk cId="1626005863" sldId="7152"/>
            <ac:spMk id="10" creationId="{DEAEF274-5D34-6FB7-4139-AA6E2AE6BDD4}"/>
          </ac:spMkLst>
        </pc:spChg>
        <pc:spChg chg="add del">
          <ac:chgData name="BORIS.WANG 王柏樺" userId="c5c44bbf-4402-4024-9f65-8f1484055d23" providerId="ADAL" clId="{5BAAF78D-6BD5-4044-8E37-5AD213C67C14}" dt="2024-10-21T02:19:57.785" v="589" actId="26606"/>
          <ac:spMkLst>
            <pc:docMk/>
            <pc:sldMk cId="1626005863" sldId="7152"/>
            <ac:spMk id="12" creationId="{DEAEF274-5D34-6FB7-4139-AA6E2AE6BDD4}"/>
          </ac:spMkLst>
        </pc:spChg>
        <pc:picChg chg="add del mod modCrop">
          <ac:chgData name="BORIS.WANG 王柏樺" userId="c5c44bbf-4402-4024-9f65-8f1484055d23" providerId="ADAL" clId="{5BAAF78D-6BD5-4044-8E37-5AD213C67C14}" dt="2024-10-21T02:20:02.167" v="595" actId="22"/>
          <ac:picMkLst>
            <pc:docMk/>
            <pc:sldMk cId="1626005863" sldId="7152"/>
            <ac:picMk id="3" creationId="{537FD5B3-26CF-CB19-A0EB-90CAD952D54D}"/>
          </ac:picMkLst>
        </pc:picChg>
        <pc:picChg chg="add del">
          <ac:chgData name="BORIS.WANG 王柏樺" userId="c5c44bbf-4402-4024-9f65-8f1484055d23" providerId="ADAL" clId="{5BAAF78D-6BD5-4044-8E37-5AD213C67C14}" dt="2024-10-21T02:20:03.191" v="597" actId="478"/>
          <ac:picMkLst>
            <pc:docMk/>
            <pc:sldMk cId="1626005863" sldId="7152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2992931649" sldId="7152"/>
        </pc:sldMkLst>
      </pc:sldChg>
      <pc:sldChg chg="addSp delSp modSp add mod modNotesTx">
        <pc:chgData name="BORIS.WANG 王柏樺" userId="c5c44bbf-4402-4024-9f65-8f1484055d23" providerId="ADAL" clId="{5BAAF78D-6BD5-4044-8E37-5AD213C67C14}" dt="2024-10-21T02:39:19.183" v="1708" actId="12"/>
        <pc:sldMkLst>
          <pc:docMk/>
          <pc:sldMk cId="169537643" sldId="7153"/>
        </pc:sldMkLst>
        <pc:spChg chg="mod">
          <ac:chgData name="BORIS.WANG 王柏樺" userId="c5c44bbf-4402-4024-9f65-8f1484055d23" providerId="ADAL" clId="{5BAAF78D-6BD5-4044-8E37-5AD213C67C14}" dt="2024-10-21T02:25:40.715" v="935" actId="20577"/>
          <ac:spMkLst>
            <pc:docMk/>
            <pc:sldMk cId="169537643" sldId="7153"/>
            <ac:spMk id="5" creationId="{9E18E9E2-5C18-4DCA-A6C4-D2C2072CDB4D}"/>
          </ac:spMkLst>
        </pc:spChg>
        <pc:spChg chg="add mod">
          <ac:chgData name="BORIS.WANG 王柏樺" userId="c5c44bbf-4402-4024-9f65-8f1484055d23" providerId="ADAL" clId="{5BAAF78D-6BD5-4044-8E37-5AD213C67C14}" dt="2024-10-21T02:39:19.183" v="1708" actId="12"/>
          <ac:spMkLst>
            <pc:docMk/>
            <pc:sldMk cId="169537643" sldId="7153"/>
            <ac:spMk id="6" creationId="{4DC86743-D71C-4A8B-7CA1-884ABEF8B66C}"/>
          </ac:spMkLst>
        </pc:spChg>
        <pc:spChg chg="add del">
          <ac:chgData name="BORIS.WANG 王柏樺" userId="c5c44bbf-4402-4024-9f65-8f1484055d23" providerId="ADAL" clId="{5BAAF78D-6BD5-4044-8E37-5AD213C67C14}" dt="2024-10-21T02:22:09.296" v="683" actId="478"/>
          <ac:spMkLst>
            <pc:docMk/>
            <pc:sldMk cId="169537643" sldId="7153"/>
            <ac:spMk id="8" creationId="{1F16FCCD-EFFF-CC3F-7CAA-FDD51748E757}"/>
          </ac:spMkLst>
        </pc:spChg>
        <pc:picChg chg="add mod modCrop">
          <ac:chgData name="BORIS.WANG 王柏樺" userId="c5c44bbf-4402-4024-9f65-8f1484055d23" providerId="ADAL" clId="{5BAAF78D-6BD5-4044-8E37-5AD213C67C14}" dt="2024-10-21T02:23:42.484" v="892" actId="14100"/>
          <ac:picMkLst>
            <pc:docMk/>
            <pc:sldMk cId="169537643" sldId="7153"/>
            <ac:picMk id="3" creationId="{E42D54C3-AEBF-C3FD-3D79-E63FB2B704E1}"/>
          </ac:picMkLst>
        </pc:picChg>
        <pc:picChg chg="del">
          <ac:chgData name="BORIS.WANG 王柏樺" userId="c5c44bbf-4402-4024-9f65-8f1484055d23" providerId="ADAL" clId="{5BAAF78D-6BD5-4044-8E37-5AD213C67C14}" dt="2024-10-21T02:20:11.989" v="605" actId="478"/>
          <ac:picMkLst>
            <pc:docMk/>
            <pc:sldMk cId="169537643" sldId="7153"/>
            <ac:picMk id="7" creationId="{A65E6BF0-A595-709B-295C-5AB8762F9E1F}"/>
          </ac:picMkLst>
        </pc:picChg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4045229986" sldId="7153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601980291" sldId="7154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639342179" sldId="7155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872915408" sldId="7156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08807086" sldId="7157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800434497" sldId="7158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1264986191" sldId="7159"/>
        </pc:sldMkLst>
      </pc:sldChg>
      <pc:sldChg chg="del">
        <pc:chgData name="BORIS.WANG 王柏樺" userId="c5c44bbf-4402-4024-9f65-8f1484055d23" providerId="ADAL" clId="{5BAAF78D-6BD5-4044-8E37-5AD213C67C14}" dt="2024-10-18T08:47:05.542" v="18" actId="47"/>
        <pc:sldMkLst>
          <pc:docMk/>
          <pc:sldMk cId="3500368902" sldId="7160"/>
        </pc:sldMkLst>
      </pc:sldChg>
    </pc:docChg>
  </pc:docChgLst>
  <pc:docChgLst>
    <pc:chgData name="BORIS.WANG 王柏樺" userId="c5c44bbf-4402-4024-9f65-8f1484055d23" providerId="ADAL" clId="{F8860D63-E1AE-47A0-A4EB-952F10A26F83}"/>
    <pc:docChg chg="undo custSel delSld modSld">
      <pc:chgData name="BORIS.WANG 王柏樺" userId="c5c44bbf-4402-4024-9f65-8f1484055d23" providerId="ADAL" clId="{F8860D63-E1AE-47A0-A4EB-952F10A26F83}" dt="2024-11-07T00:55:32.012" v="2683" actId="20577"/>
      <pc:docMkLst>
        <pc:docMk/>
      </pc:docMkLst>
      <pc:sldChg chg="modNotesTx">
        <pc:chgData name="BORIS.WANG 王柏樺" userId="c5c44bbf-4402-4024-9f65-8f1484055d23" providerId="ADAL" clId="{F8860D63-E1AE-47A0-A4EB-952F10A26F83}" dt="2024-11-07T00:06:11.993" v="162" actId="20577"/>
        <pc:sldMkLst>
          <pc:docMk/>
          <pc:sldMk cId="2794985988" sldId="6797"/>
        </pc:sldMkLst>
      </pc:sldChg>
      <pc:sldChg chg="modSp mod modNotesTx">
        <pc:chgData name="BORIS.WANG 王柏樺" userId="c5c44bbf-4402-4024-9f65-8f1484055d23" providerId="ADAL" clId="{F8860D63-E1AE-47A0-A4EB-952F10A26F83}" dt="2024-11-07T00:06:09.472" v="161" actId="20577"/>
        <pc:sldMkLst>
          <pc:docMk/>
          <pc:sldMk cId="68451804" sldId="7122"/>
        </pc:sldMkLst>
        <pc:spChg chg="mod">
          <ac:chgData name="BORIS.WANG 王柏樺" userId="c5c44bbf-4402-4024-9f65-8f1484055d23" providerId="ADAL" clId="{F8860D63-E1AE-47A0-A4EB-952F10A26F83}" dt="2024-11-06T23:57:43.726" v="46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F8860D63-E1AE-47A0-A4EB-952F10A26F83}" dt="2024-11-06T23:57:40.551" v="44"/>
          <ac:spMkLst>
            <pc:docMk/>
            <pc:sldMk cId="68451804" sldId="7122"/>
            <ac:spMk id="17" creationId="{C318173E-55E3-4CBB-A7E2-33A1735C03D6}"/>
          </ac:spMkLst>
        </pc:spChg>
      </pc:sldChg>
      <pc:sldChg chg="addSp delSp modSp mod modNotesTx">
        <pc:chgData name="BORIS.WANG 王柏樺" userId="c5c44bbf-4402-4024-9f65-8f1484055d23" providerId="ADAL" clId="{F8860D63-E1AE-47A0-A4EB-952F10A26F83}" dt="2024-11-07T00:55:32.012" v="2683" actId="20577"/>
        <pc:sldMkLst>
          <pc:docMk/>
          <pc:sldMk cId="169537643" sldId="7153"/>
        </pc:sldMkLst>
        <pc:spChg chg="add mod">
          <ac:chgData name="BORIS.WANG 王柏樺" userId="c5c44bbf-4402-4024-9f65-8f1484055d23" providerId="ADAL" clId="{F8860D63-E1AE-47A0-A4EB-952F10A26F83}" dt="2024-11-07T00:55:01.814" v="2682" actId="33524"/>
          <ac:spMkLst>
            <pc:docMk/>
            <pc:sldMk cId="169537643" sldId="7153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F8860D63-E1AE-47A0-A4EB-952F10A26F83}" dt="2024-11-06T23:57:27.382" v="40" actId="20577"/>
          <ac:spMkLst>
            <pc:docMk/>
            <pc:sldMk cId="169537643" sldId="7153"/>
            <ac:spMk id="5" creationId="{9E18E9E2-5C18-4DCA-A6C4-D2C2072CDB4D}"/>
          </ac:spMkLst>
        </pc:spChg>
        <pc:spChg chg="del">
          <ac:chgData name="BORIS.WANG 王柏樺" userId="c5c44bbf-4402-4024-9f65-8f1484055d23" providerId="ADAL" clId="{F8860D63-E1AE-47A0-A4EB-952F10A26F83}" dt="2024-11-06T23:56:35.671" v="4" actId="478"/>
          <ac:spMkLst>
            <pc:docMk/>
            <pc:sldMk cId="169537643" sldId="7153"/>
            <ac:spMk id="8" creationId="{D6BA23FA-C1A9-3DC7-45D8-AED69E1C61E1}"/>
          </ac:spMkLst>
        </pc:spChg>
        <pc:spChg chg="del">
          <ac:chgData name="BORIS.WANG 王柏樺" userId="c5c44bbf-4402-4024-9f65-8f1484055d23" providerId="ADAL" clId="{F8860D63-E1AE-47A0-A4EB-952F10A26F83}" dt="2024-11-06T23:56:31.598" v="2" actId="478"/>
          <ac:spMkLst>
            <pc:docMk/>
            <pc:sldMk cId="169537643" sldId="7153"/>
            <ac:spMk id="10" creationId="{16023779-5CAA-E68E-0650-1D2DE23DD8EE}"/>
          </ac:spMkLst>
        </pc:spChg>
        <pc:spChg chg="del">
          <ac:chgData name="BORIS.WANG 王柏樺" userId="c5c44bbf-4402-4024-9f65-8f1484055d23" providerId="ADAL" clId="{F8860D63-E1AE-47A0-A4EB-952F10A26F83}" dt="2024-11-06T23:56:36.648" v="5" actId="478"/>
          <ac:spMkLst>
            <pc:docMk/>
            <pc:sldMk cId="169537643" sldId="7153"/>
            <ac:spMk id="11" creationId="{718627E7-2B0E-20D2-5A98-98292B1C78F6}"/>
          </ac:spMkLst>
        </pc:spChg>
        <pc:picChg chg="del">
          <ac:chgData name="BORIS.WANG 王柏樺" userId="c5c44bbf-4402-4024-9f65-8f1484055d23" providerId="ADAL" clId="{F8860D63-E1AE-47A0-A4EB-952F10A26F83}" dt="2024-11-06T23:56:19.674" v="0" actId="478"/>
          <ac:picMkLst>
            <pc:docMk/>
            <pc:sldMk cId="169537643" sldId="7153"/>
            <ac:picMk id="7" creationId="{1643A9B7-821E-A4AE-246C-A62E39136325}"/>
          </ac:picMkLst>
        </pc:picChg>
      </pc:sldChg>
      <pc:sldChg chg="del">
        <pc:chgData name="BORIS.WANG 王柏樺" userId="c5c44bbf-4402-4024-9f65-8f1484055d23" providerId="ADAL" clId="{F8860D63-E1AE-47A0-A4EB-952F10A26F83}" dt="2024-11-06T23:57:33.271" v="41" actId="47"/>
        <pc:sldMkLst>
          <pc:docMk/>
          <pc:sldMk cId="416065759" sldId="7154"/>
        </pc:sldMkLst>
      </pc:sldChg>
    </pc:docChg>
  </pc:docChgLst>
  <pc:docChgLst>
    <pc:chgData name="BORIS.WANG 王柏樺" userId="c5c44bbf-4402-4024-9f65-8f1484055d23" providerId="ADAL" clId="{EB5D1F21-A33A-48B9-B4DD-65177C78E1CD}"/>
    <pc:docChg chg="undo redo custSel addSld delSld modSld sldOrd">
      <pc:chgData name="BORIS.WANG 王柏樺" userId="c5c44bbf-4402-4024-9f65-8f1484055d23" providerId="ADAL" clId="{EB5D1F21-A33A-48B9-B4DD-65177C78E1CD}" dt="2024-11-25T01:55:07.553" v="4588" actId="20577"/>
      <pc:docMkLst>
        <pc:docMk/>
      </pc:docMkLst>
      <pc:sldChg chg="delSp modSp mod">
        <pc:chgData name="BORIS.WANG 王柏樺" userId="c5c44bbf-4402-4024-9f65-8f1484055d23" providerId="ADAL" clId="{EB5D1F21-A33A-48B9-B4DD-65177C78E1CD}" dt="2024-11-08T05:30:07.180" v="1021" actId="1076"/>
        <pc:sldMkLst>
          <pc:docMk/>
          <pc:sldMk cId="68451804" sldId="7122"/>
        </pc:sldMkLst>
        <pc:spChg chg="del">
          <ac:chgData name="BORIS.WANG 王柏樺" userId="c5c44bbf-4402-4024-9f65-8f1484055d23" providerId="ADAL" clId="{EB5D1F21-A33A-48B9-B4DD-65177C78E1CD}" dt="2024-11-08T05:30:02.302" v="1018" actId="478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EB5D1F21-A33A-48B9-B4DD-65177C78E1CD}" dt="2024-11-08T05:30:07.180" v="1021" actId="1076"/>
          <ac:spMkLst>
            <pc:docMk/>
            <pc:sldMk cId="68451804" sldId="7122"/>
            <ac:spMk id="17" creationId="{C318173E-55E3-4CBB-A7E2-33A1735C03D6}"/>
          </ac:spMkLst>
        </pc:spChg>
      </pc:sldChg>
      <pc:sldChg chg="addSp delSp modSp mod">
        <pc:chgData name="BORIS.WANG 王柏樺" userId="c5c44bbf-4402-4024-9f65-8f1484055d23" providerId="ADAL" clId="{EB5D1F21-A33A-48B9-B4DD-65177C78E1CD}" dt="2024-11-12T05:14:23.232" v="2814" actId="2711"/>
        <pc:sldMkLst>
          <pc:docMk/>
          <pc:sldMk cId="169537643" sldId="7153"/>
        </pc:sldMkLst>
        <pc:spChg chg="add mod">
          <ac:chgData name="BORIS.WANG 王柏樺" userId="c5c44bbf-4402-4024-9f65-8f1484055d23" providerId="ADAL" clId="{EB5D1F21-A33A-48B9-B4DD-65177C78E1CD}" dt="2024-11-12T05:14:15.015" v="2813" actId="2711"/>
          <ac:spMkLst>
            <pc:docMk/>
            <pc:sldMk cId="169537643" sldId="7153"/>
            <ac:spMk id="2" creationId="{D814B3D0-11C5-29AF-4797-1F7646328B70}"/>
          </ac:spMkLst>
        </pc:spChg>
        <pc:spChg chg="mod">
          <ac:chgData name="BORIS.WANG 王柏樺" userId="c5c44bbf-4402-4024-9f65-8f1484055d23" providerId="ADAL" clId="{EB5D1F21-A33A-48B9-B4DD-65177C78E1CD}" dt="2024-11-12T05:14:23.232" v="2814" actId="2711"/>
          <ac:spMkLst>
            <pc:docMk/>
            <pc:sldMk cId="169537643" sldId="7153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10:01.703" v="162" actId="20577"/>
          <ac:spMkLst>
            <pc:docMk/>
            <pc:sldMk cId="169537643" sldId="7153"/>
            <ac:spMk id="5" creationId="{9E18E9E2-5C18-4DCA-A6C4-D2C2072CDB4D}"/>
          </ac:spMkLst>
        </pc:spChg>
        <pc:picChg chg="add mod">
          <ac:chgData name="BORIS.WANG 王柏樺" userId="c5c44bbf-4402-4024-9f65-8f1484055d23" providerId="ADAL" clId="{EB5D1F21-A33A-48B9-B4DD-65177C78E1CD}" dt="2024-11-11T06:26:22.772" v="1382" actId="14100"/>
          <ac:picMkLst>
            <pc:docMk/>
            <pc:sldMk cId="169537643" sldId="7153"/>
            <ac:picMk id="7" creationId="{FCFAAD0F-EF45-9398-B126-856BB8C4CE52}"/>
          </ac:picMkLst>
        </pc:picChg>
        <pc:picChg chg="add mod">
          <ac:chgData name="BORIS.WANG 王柏樺" userId="c5c44bbf-4402-4024-9f65-8f1484055d23" providerId="ADAL" clId="{EB5D1F21-A33A-48B9-B4DD-65177C78E1CD}" dt="2024-11-11T06:26:23.268" v="1383"/>
          <ac:picMkLst>
            <pc:docMk/>
            <pc:sldMk cId="169537643" sldId="7153"/>
            <ac:picMk id="8" creationId="{F4A3C263-242F-1905-EF78-D2D3F6D5ABDB}"/>
          </ac:picMkLst>
        </pc:picChg>
        <pc:picChg chg="add mod">
          <ac:chgData name="BORIS.WANG 王柏樺" userId="c5c44bbf-4402-4024-9f65-8f1484055d23" providerId="ADAL" clId="{EB5D1F21-A33A-48B9-B4DD-65177C78E1CD}" dt="2024-11-11T06:26:23.516" v="1384"/>
          <ac:picMkLst>
            <pc:docMk/>
            <pc:sldMk cId="169537643" sldId="7153"/>
            <ac:picMk id="9" creationId="{CFD3E775-BE23-A744-FAF9-6F56B8A70FEF}"/>
          </ac:picMkLst>
        </pc:picChg>
        <pc:picChg chg="add mod">
          <ac:chgData name="BORIS.WANG 王柏樺" userId="c5c44bbf-4402-4024-9f65-8f1484055d23" providerId="ADAL" clId="{EB5D1F21-A33A-48B9-B4DD-65177C78E1CD}" dt="2024-11-11T06:26:27.047" v="1386" actId="1076"/>
          <ac:picMkLst>
            <pc:docMk/>
            <pc:sldMk cId="169537643" sldId="7153"/>
            <ac:picMk id="10" creationId="{3C486DD1-311B-22E8-9D2B-9C1E6130F3C5}"/>
          </ac:picMkLst>
        </pc:picChg>
        <pc:picChg chg="add del mod">
          <ac:chgData name="BORIS.WANG 王柏樺" userId="c5c44bbf-4402-4024-9f65-8f1484055d23" providerId="ADAL" clId="{EB5D1F21-A33A-48B9-B4DD-65177C78E1CD}" dt="2024-11-11T06:42:44.869" v="1397" actId="478"/>
          <ac:picMkLst>
            <pc:docMk/>
            <pc:sldMk cId="169537643" sldId="7153"/>
            <ac:picMk id="12" creationId="{E890FAA2-A5D2-0313-BE89-BB1F7D747EEE}"/>
          </ac:picMkLst>
        </pc:picChg>
        <pc:picChg chg="add mod">
          <ac:chgData name="BORIS.WANG 王柏樺" userId="c5c44bbf-4402-4024-9f65-8f1484055d23" providerId="ADAL" clId="{EB5D1F21-A33A-48B9-B4DD-65177C78E1CD}" dt="2024-11-11T06:31:35.527" v="1396" actId="1076"/>
          <ac:picMkLst>
            <pc:docMk/>
            <pc:sldMk cId="169537643" sldId="7153"/>
            <ac:picMk id="14" creationId="{A1D0AF8A-D5AE-F6C9-7E84-AACF4A46836D}"/>
          </ac:picMkLst>
        </pc:picChg>
        <pc:picChg chg="add mod">
          <ac:chgData name="BORIS.WANG 王柏樺" userId="c5c44bbf-4402-4024-9f65-8f1484055d23" providerId="ADAL" clId="{EB5D1F21-A33A-48B9-B4DD-65177C78E1CD}" dt="2024-11-11T06:46:25.826" v="1408" actId="1076"/>
          <ac:picMkLst>
            <pc:docMk/>
            <pc:sldMk cId="169537643" sldId="7153"/>
            <ac:picMk id="16" creationId="{184A695B-D0AE-019D-59E1-A87ECA5C62C4}"/>
          </ac:picMkLst>
        </pc:picChg>
        <pc:picChg chg="add mod">
          <ac:chgData name="BORIS.WANG 王柏樺" userId="c5c44bbf-4402-4024-9f65-8f1484055d23" providerId="ADAL" clId="{EB5D1F21-A33A-48B9-B4DD-65177C78E1CD}" dt="2024-11-11T06:44:45.212" v="1407" actId="1076"/>
          <ac:picMkLst>
            <pc:docMk/>
            <pc:sldMk cId="169537643" sldId="7153"/>
            <ac:picMk id="17" creationId="{C7BED46F-984A-29F4-974A-56C5C1E77C23}"/>
          </ac:picMkLst>
        </pc:picChg>
        <pc:picChg chg="add del mod">
          <ac:chgData name="BORIS.WANG 王柏樺" userId="c5c44bbf-4402-4024-9f65-8f1484055d23" providerId="ADAL" clId="{EB5D1F21-A33A-48B9-B4DD-65177C78E1CD}" dt="2024-11-11T06:52:58.846" v="1433" actId="478"/>
          <ac:picMkLst>
            <pc:docMk/>
            <pc:sldMk cId="169537643" sldId="7153"/>
            <ac:picMk id="19" creationId="{84CD6FB6-B1C5-3F78-4E04-5D7BF9C162FB}"/>
          </ac:picMkLst>
        </pc:picChg>
        <pc:picChg chg="add mod">
          <ac:chgData name="BORIS.WANG 王柏樺" userId="c5c44bbf-4402-4024-9f65-8f1484055d23" providerId="ADAL" clId="{EB5D1F21-A33A-48B9-B4DD-65177C78E1CD}" dt="2024-11-11T06:53:09.341" v="1437" actId="1076"/>
          <ac:picMkLst>
            <pc:docMk/>
            <pc:sldMk cId="169537643" sldId="7153"/>
            <ac:picMk id="21" creationId="{EF0382F1-8DAE-54B2-4078-81423B5ABEF3}"/>
          </ac:picMkLst>
        </pc:picChg>
        <pc:picChg chg="add mod">
          <ac:chgData name="BORIS.WANG 王柏樺" userId="c5c44bbf-4402-4024-9f65-8f1484055d23" providerId="ADAL" clId="{EB5D1F21-A33A-48B9-B4DD-65177C78E1CD}" dt="2024-11-11T06:53:05.690" v="1436" actId="1076"/>
          <ac:picMkLst>
            <pc:docMk/>
            <pc:sldMk cId="169537643" sldId="7153"/>
            <ac:picMk id="22" creationId="{832934D7-C155-35F3-60B8-6D95DCD4A946}"/>
          </ac:picMkLst>
        </pc:picChg>
        <pc:picChg chg="add mod">
          <ac:chgData name="BORIS.WANG 王柏樺" userId="c5c44bbf-4402-4024-9f65-8f1484055d23" providerId="ADAL" clId="{EB5D1F21-A33A-48B9-B4DD-65177C78E1CD}" dt="2024-11-11T06:49:31.065" v="1426" actId="1076"/>
          <ac:picMkLst>
            <pc:docMk/>
            <pc:sldMk cId="169537643" sldId="7153"/>
            <ac:picMk id="23" creationId="{F90D8424-6344-0D8B-771A-E830D31D0391}"/>
          </ac:picMkLst>
        </pc:picChg>
        <pc:picChg chg="add mod">
          <ac:chgData name="BORIS.WANG 王柏樺" userId="c5c44bbf-4402-4024-9f65-8f1484055d23" providerId="ADAL" clId="{EB5D1F21-A33A-48B9-B4DD-65177C78E1CD}" dt="2024-11-11T06:52:56.704" v="1432" actId="1076"/>
          <ac:picMkLst>
            <pc:docMk/>
            <pc:sldMk cId="169537643" sldId="7153"/>
            <ac:picMk id="25" creationId="{3E3B3C18-7FA5-A710-05BC-D69F4CA6C1CF}"/>
          </ac:picMkLst>
        </pc:picChg>
        <pc:picChg chg="add mod">
          <ac:chgData name="BORIS.WANG 王柏樺" userId="c5c44bbf-4402-4024-9f65-8f1484055d23" providerId="ADAL" clId="{EB5D1F21-A33A-48B9-B4DD-65177C78E1CD}" dt="2024-11-11T06:53:01.594" v="1435" actId="1076"/>
          <ac:picMkLst>
            <pc:docMk/>
            <pc:sldMk cId="169537643" sldId="7153"/>
            <ac:picMk id="26" creationId="{1A598239-790A-8CEC-F31F-602209AF2B61}"/>
          </ac:picMkLst>
        </pc:picChg>
        <pc:picChg chg="add mod">
          <ac:chgData name="BORIS.WANG 王柏樺" userId="c5c44bbf-4402-4024-9f65-8f1484055d23" providerId="ADAL" clId="{EB5D1F21-A33A-48B9-B4DD-65177C78E1CD}" dt="2024-11-11T07:03:47.228" v="1443" actId="1076"/>
          <ac:picMkLst>
            <pc:docMk/>
            <pc:sldMk cId="169537643" sldId="7153"/>
            <ac:picMk id="28" creationId="{F35C98B0-F5A1-C2EB-34D1-FA84663B0925}"/>
          </ac:picMkLst>
        </pc:picChg>
        <pc:picChg chg="add mod">
          <ac:chgData name="BORIS.WANG 王柏樺" userId="c5c44bbf-4402-4024-9f65-8f1484055d23" providerId="ADAL" clId="{EB5D1F21-A33A-48B9-B4DD-65177C78E1CD}" dt="2024-11-11T07:06:09.368" v="1451" actId="1076"/>
          <ac:picMkLst>
            <pc:docMk/>
            <pc:sldMk cId="169537643" sldId="7153"/>
            <ac:picMk id="30" creationId="{FCDC3265-266C-FB5D-A557-C5A4E4C5007A}"/>
          </ac:picMkLst>
        </pc:picChg>
        <pc:picChg chg="add mod">
          <ac:chgData name="BORIS.WANG 王柏樺" userId="c5c44bbf-4402-4024-9f65-8f1484055d23" providerId="ADAL" clId="{EB5D1F21-A33A-48B9-B4DD-65177C78E1CD}" dt="2024-11-11T07:06:13.725" v="1452" actId="1076"/>
          <ac:picMkLst>
            <pc:docMk/>
            <pc:sldMk cId="169537643" sldId="7153"/>
            <ac:picMk id="31" creationId="{84C19B88-A579-8A60-F85B-7C749783F672}"/>
          </ac:picMkLst>
        </pc:picChg>
      </pc:sldChg>
      <pc:sldChg chg="addSp delSp modSp add mod modNotesTx">
        <pc:chgData name="BORIS.WANG 王柏樺" userId="c5c44bbf-4402-4024-9f65-8f1484055d23" providerId="ADAL" clId="{EB5D1F21-A33A-48B9-B4DD-65177C78E1CD}" dt="2024-11-25T01:55:07.553" v="4588" actId="20577"/>
        <pc:sldMkLst>
          <pc:docMk/>
          <pc:sldMk cId="674092264" sldId="7154"/>
        </pc:sldMkLst>
        <pc:spChg chg="del">
          <ac:chgData name="BORIS.WANG 王柏樺" userId="c5c44bbf-4402-4024-9f65-8f1484055d23" providerId="ADAL" clId="{EB5D1F21-A33A-48B9-B4DD-65177C78E1CD}" dt="2024-11-11T07:12:02.887" v="1613" actId="478"/>
          <ac:spMkLst>
            <pc:docMk/>
            <pc:sldMk cId="674092264" sldId="7154"/>
            <ac:spMk id="2" creationId="{D814B3D0-11C5-29AF-4797-1F7646328B70}"/>
          </ac:spMkLst>
        </pc:spChg>
        <pc:spChg chg="add mod">
          <ac:chgData name="BORIS.WANG 王柏樺" userId="c5c44bbf-4402-4024-9f65-8f1484055d23" providerId="ADAL" clId="{EB5D1F21-A33A-48B9-B4DD-65177C78E1CD}" dt="2024-11-25T01:55:07.553" v="4588" actId="20577"/>
          <ac:spMkLst>
            <pc:docMk/>
            <pc:sldMk cId="674092264" sldId="7154"/>
            <ac:spMk id="2" creationId="{FE5C58BD-36B2-F732-7DC9-5E6A8FB5787D}"/>
          </ac:spMkLst>
        </pc:spChg>
        <pc:spChg chg="del">
          <ac:chgData name="BORIS.WANG 王柏樺" userId="c5c44bbf-4402-4024-9f65-8f1484055d23" providerId="ADAL" clId="{EB5D1F21-A33A-48B9-B4DD-65177C78E1CD}" dt="2024-11-11T07:12:06.662" v="1614" actId="478"/>
          <ac:spMkLst>
            <pc:docMk/>
            <pc:sldMk cId="674092264" sldId="7154"/>
            <ac:spMk id="3" creationId="{9DF2D1C7-173A-E8AA-64F4-8CE16A43D3FB}"/>
          </ac:spMkLst>
        </pc:spChg>
        <pc:spChg chg="del">
          <ac:chgData name="BORIS.WANG 王柏樺" userId="c5c44bbf-4402-4024-9f65-8f1484055d23" providerId="ADAL" clId="{EB5D1F21-A33A-48B9-B4DD-65177C78E1CD}" dt="2024-11-11T07:12:02.887" v="1613" actId="478"/>
          <ac:spMkLst>
            <pc:docMk/>
            <pc:sldMk cId="674092264" sldId="7154"/>
            <ac:spMk id="4" creationId="{39117E77-3437-9489-F435-80D0E748ACDE}"/>
          </ac:spMkLst>
        </pc:spChg>
        <pc:spChg chg="mod">
          <ac:chgData name="BORIS.WANG 王柏樺" userId="c5c44bbf-4402-4024-9f65-8f1484055d23" providerId="ADAL" clId="{EB5D1F21-A33A-48B9-B4DD-65177C78E1CD}" dt="2024-11-22T09:15:29.781" v="4436" actId="14100"/>
          <ac:spMkLst>
            <pc:docMk/>
            <pc:sldMk cId="674092264" sldId="7154"/>
            <ac:spMk id="5" creationId="{9E18E9E2-5C18-4DCA-A6C4-D2C2072CDB4D}"/>
          </ac:spMkLst>
        </pc:spChg>
        <pc:spChg chg="add del">
          <ac:chgData name="BORIS.WANG 王柏樺" userId="c5c44bbf-4402-4024-9f65-8f1484055d23" providerId="ADAL" clId="{EB5D1F21-A33A-48B9-B4DD-65177C78E1CD}" dt="2024-11-11T08:02:01.989" v="1629" actId="26606"/>
          <ac:spMkLst>
            <pc:docMk/>
            <pc:sldMk cId="674092264" sldId="7154"/>
            <ac:spMk id="11" creationId="{9DE665DD-519D-676C-0C24-7DA2FEF8E3C7}"/>
          </ac:spMkLst>
        </pc:spChg>
        <pc:graphicFrameChg chg="add del mod modGraphic">
          <ac:chgData name="BORIS.WANG 王柏樺" userId="c5c44bbf-4402-4024-9f65-8f1484055d23" providerId="ADAL" clId="{EB5D1F21-A33A-48B9-B4DD-65177C78E1CD}" dt="2024-11-22T09:14:01.210" v="4405" actId="21"/>
          <ac:graphicFrameMkLst>
            <pc:docMk/>
            <pc:sldMk cId="674092264" sldId="7154"/>
            <ac:graphicFrameMk id="3" creationId="{C99E7DE2-8153-7B9D-8713-D9F7F5A468A8}"/>
          </ac:graphicFrameMkLst>
        </pc:graphicFrameChg>
        <pc:graphicFrameChg chg="add del mod">
          <ac:chgData name="BORIS.WANG 王柏樺" userId="c5c44bbf-4402-4024-9f65-8f1484055d23" providerId="ADAL" clId="{EB5D1F21-A33A-48B9-B4DD-65177C78E1CD}" dt="2024-11-22T09:15:33.603" v="4437" actId="478"/>
          <ac:graphicFrameMkLst>
            <pc:docMk/>
            <pc:sldMk cId="674092264" sldId="7154"/>
            <ac:graphicFrameMk id="4" creationId="{C99E7DE2-8153-7B9D-8713-D9F7F5A468A8}"/>
          </ac:graphicFrameMkLst>
        </pc:graphicFrameChg>
        <pc:picChg chg="add del mod">
          <ac:chgData name="BORIS.WANG 王柏樺" userId="c5c44bbf-4402-4024-9f65-8f1484055d23" providerId="ADAL" clId="{EB5D1F21-A33A-48B9-B4DD-65177C78E1CD}" dt="2024-11-11T07:51:57.433" v="1623" actId="478"/>
          <ac:picMkLst>
            <pc:docMk/>
            <pc:sldMk cId="674092264" sldId="7154"/>
            <ac:picMk id="3" creationId="{1DEF77C2-06D2-08C0-4B26-7C13204825A9}"/>
          </ac:picMkLst>
        </pc:picChg>
        <pc:picChg chg="add del mod">
          <ac:chgData name="BORIS.WANG 王柏樺" userId="c5c44bbf-4402-4024-9f65-8f1484055d23" providerId="ADAL" clId="{EB5D1F21-A33A-48B9-B4DD-65177C78E1CD}" dt="2024-11-12T04:53:08.135" v="2275" actId="478"/>
          <ac:picMkLst>
            <pc:docMk/>
            <pc:sldMk cId="674092264" sldId="7154"/>
            <ac:picMk id="4" creationId="{E1FC8C7A-3DE2-32D4-7691-B5883F7DF9E5}"/>
          </ac:picMkLst>
        </pc:picChg>
        <pc:picChg chg="add del mod">
          <ac:chgData name="BORIS.WANG 王柏樺" userId="c5c44bbf-4402-4024-9f65-8f1484055d23" providerId="ADAL" clId="{EB5D1F21-A33A-48B9-B4DD-65177C78E1CD}" dt="2024-11-11T08:06:12.237" v="1922" actId="478"/>
          <ac:picMkLst>
            <pc:docMk/>
            <pc:sldMk cId="674092264" sldId="7154"/>
            <ac:picMk id="6" creationId="{71D7D983-4639-F7FE-7864-667A77ABEF0D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7" creationId="{FCFAAD0F-EF45-9398-B126-856BB8C4CE52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8" creationId="{F4A3C263-242F-1905-EF78-D2D3F6D5ABDB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9" creationId="{CFD3E775-BE23-A744-FAF9-6F56B8A70FEF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0" creationId="{3C486DD1-311B-22E8-9D2B-9C1E6130F3C5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4" creationId="{A1D0AF8A-D5AE-F6C9-7E84-AACF4A46836D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6" creationId="{184A695B-D0AE-019D-59E1-A87ECA5C62C4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17" creationId="{C7BED46F-984A-29F4-974A-56C5C1E77C23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1" creationId="{EF0382F1-8DAE-54B2-4078-81423B5ABEF3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2" creationId="{832934D7-C155-35F3-60B8-6D95DCD4A946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3" creationId="{F90D8424-6344-0D8B-771A-E830D31D0391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5" creationId="{3E3B3C18-7FA5-A710-05BC-D69F4CA6C1CF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6" creationId="{1A598239-790A-8CEC-F31F-602209AF2B61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28" creationId="{F35C98B0-F5A1-C2EB-34D1-FA84663B0925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30" creationId="{FCDC3265-266C-FB5D-A557-C5A4E4C5007A}"/>
          </ac:picMkLst>
        </pc:picChg>
        <pc:picChg chg="del">
          <ac:chgData name="BORIS.WANG 王柏樺" userId="c5c44bbf-4402-4024-9f65-8f1484055d23" providerId="ADAL" clId="{EB5D1F21-A33A-48B9-B4DD-65177C78E1CD}" dt="2024-11-11T07:12:02.887" v="1613" actId="478"/>
          <ac:picMkLst>
            <pc:docMk/>
            <pc:sldMk cId="674092264" sldId="7154"/>
            <ac:picMk id="31" creationId="{84C19B88-A579-8A60-F85B-7C749783F672}"/>
          </ac:picMkLst>
        </pc:picChg>
      </pc:sldChg>
      <pc:sldChg chg="addSp delSp modSp add del mod">
        <pc:chgData name="BORIS.WANG 王柏樺" userId="c5c44bbf-4402-4024-9f65-8f1484055d23" providerId="ADAL" clId="{EB5D1F21-A33A-48B9-B4DD-65177C78E1CD}" dt="2024-11-11T06:17:04.361" v="1377" actId="47"/>
        <pc:sldMkLst>
          <pc:docMk/>
          <pc:sldMk cId="3065042609" sldId="7154"/>
        </pc:sldMkLst>
        <pc:spChg chg="del">
          <ac:chgData name="BORIS.WANG 王柏樺" userId="c5c44bbf-4402-4024-9f65-8f1484055d23" providerId="ADAL" clId="{EB5D1F21-A33A-48B9-B4DD-65177C78E1CD}" dt="2024-11-08T05:15:13.582" v="365" actId="478"/>
          <ac:spMkLst>
            <pc:docMk/>
            <pc:sldMk cId="3065042609" sldId="7154"/>
            <ac:spMk id="2" creationId="{D814B3D0-11C5-29AF-4797-1F7646328B70}"/>
          </ac:spMkLst>
        </pc:spChg>
        <pc:spChg chg="del">
          <ac:chgData name="BORIS.WANG 王柏樺" userId="c5c44bbf-4402-4024-9f65-8f1484055d23" providerId="ADAL" clId="{EB5D1F21-A33A-48B9-B4DD-65177C78E1CD}" dt="2024-11-08T05:15:12.486" v="364" actId="478"/>
          <ac:spMkLst>
            <pc:docMk/>
            <pc:sldMk cId="3065042609" sldId="7154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28:11.132" v="973" actId="20577"/>
          <ac:spMkLst>
            <pc:docMk/>
            <pc:sldMk cId="3065042609" sldId="7154"/>
            <ac:spMk id="5" creationId="{9E18E9E2-5C18-4DCA-A6C4-D2C2072CDB4D}"/>
          </ac:spMkLst>
        </pc:spChg>
        <pc:graphicFrameChg chg="add del modGraphic">
          <ac:chgData name="BORIS.WANG 王柏樺" userId="c5c44bbf-4402-4024-9f65-8f1484055d23" providerId="ADAL" clId="{EB5D1F21-A33A-48B9-B4DD-65177C78E1CD}" dt="2024-11-08T05:16:09.274" v="367" actId="478"/>
          <ac:graphicFrameMkLst>
            <pc:docMk/>
            <pc:sldMk cId="3065042609" sldId="7154"/>
            <ac:graphicFrameMk id="6" creationId="{2A2A3E29-0890-FB4F-0D20-9056D0E4FA18}"/>
          </ac:graphicFrameMkLst>
        </pc:graphicFrameChg>
        <pc:graphicFrameChg chg="add mod modGraphic">
          <ac:chgData name="BORIS.WANG 王柏樺" userId="c5c44bbf-4402-4024-9f65-8f1484055d23" providerId="ADAL" clId="{EB5D1F21-A33A-48B9-B4DD-65177C78E1CD}" dt="2024-11-08T05:22:08.042" v="669" actId="20577"/>
          <ac:graphicFrameMkLst>
            <pc:docMk/>
            <pc:sldMk cId="3065042609" sldId="7154"/>
            <ac:graphicFrameMk id="7" creationId="{BA229E62-5771-07C3-E8AF-5A815C92A74C}"/>
          </ac:graphicFrameMkLst>
        </pc:graphicFrameChg>
      </pc:sldChg>
      <pc:sldChg chg="delSp modSp add del mod">
        <pc:chgData name="BORIS.WANG 王柏樺" userId="c5c44bbf-4402-4024-9f65-8f1484055d23" providerId="ADAL" clId="{EB5D1F21-A33A-48B9-B4DD-65177C78E1CD}" dt="2024-11-08T05:22:13.760" v="671" actId="47"/>
        <pc:sldMkLst>
          <pc:docMk/>
          <pc:sldMk cId="683263515" sldId="7155"/>
        </pc:sldMkLst>
        <pc:spChg chg="del">
          <ac:chgData name="BORIS.WANG 王柏樺" userId="c5c44bbf-4402-4024-9f65-8f1484055d23" providerId="ADAL" clId="{EB5D1F21-A33A-48B9-B4DD-65177C78E1CD}" dt="2024-11-08T05:15:08.253" v="362" actId="478"/>
          <ac:spMkLst>
            <pc:docMk/>
            <pc:sldMk cId="683263515" sldId="7155"/>
            <ac:spMk id="2" creationId="{D814B3D0-11C5-29AF-4797-1F7646328B70}"/>
          </ac:spMkLst>
        </pc:spChg>
        <pc:spChg chg="del">
          <ac:chgData name="BORIS.WANG 王柏樺" userId="c5c44bbf-4402-4024-9f65-8f1484055d23" providerId="ADAL" clId="{EB5D1F21-A33A-48B9-B4DD-65177C78E1CD}" dt="2024-11-08T05:15:09.527" v="363" actId="478"/>
          <ac:spMkLst>
            <pc:docMk/>
            <pc:sldMk cId="683263515" sldId="7155"/>
            <ac:spMk id="3" creationId="{9DF2D1C7-173A-E8AA-64F4-8CE16A43D3FB}"/>
          </ac:spMkLst>
        </pc:spChg>
        <pc:spChg chg="mod">
          <ac:chgData name="BORIS.WANG 王柏樺" userId="c5c44bbf-4402-4024-9f65-8f1484055d23" providerId="ADAL" clId="{EB5D1F21-A33A-48B9-B4DD-65177C78E1CD}" dt="2024-11-08T05:15:05.742" v="361" actId="20577"/>
          <ac:spMkLst>
            <pc:docMk/>
            <pc:sldMk cId="683263515" sldId="7155"/>
            <ac:spMk id="5" creationId="{9E18E9E2-5C18-4DCA-A6C4-D2C2072CDB4D}"/>
          </ac:spMkLst>
        </pc:spChg>
      </pc:sldChg>
      <pc:sldChg chg="delSp modSp add mod">
        <pc:chgData name="BORIS.WANG 王柏樺" userId="c5c44bbf-4402-4024-9f65-8f1484055d23" providerId="ADAL" clId="{EB5D1F21-A33A-48B9-B4DD-65177C78E1CD}" dt="2024-11-25T01:23:18.323" v="4549" actId="948"/>
        <pc:sldMkLst>
          <pc:docMk/>
          <pc:sldMk cId="1908397326" sldId="7155"/>
        </pc:sldMkLst>
        <pc:spChg chg="del">
          <ac:chgData name="BORIS.WANG 王柏樺" userId="c5c44bbf-4402-4024-9f65-8f1484055d23" providerId="ADAL" clId="{EB5D1F21-A33A-48B9-B4DD-65177C78E1CD}" dt="2024-11-22T09:14:38.267" v="4413" actId="478"/>
          <ac:spMkLst>
            <pc:docMk/>
            <pc:sldMk cId="1908397326" sldId="7155"/>
            <ac:spMk id="2" creationId="{FE5C58BD-36B2-F732-7DC9-5E6A8FB5787D}"/>
          </ac:spMkLst>
        </pc:spChg>
        <pc:spChg chg="mod">
          <ac:chgData name="BORIS.WANG 王柏樺" userId="c5c44bbf-4402-4024-9f65-8f1484055d23" providerId="ADAL" clId="{EB5D1F21-A33A-48B9-B4DD-65177C78E1CD}" dt="2024-11-22T09:15:18.495" v="4432" actId="14100"/>
          <ac:spMkLst>
            <pc:docMk/>
            <pc:sldMk cId="1908397326" sldId="7155"/>
            <ac:spMk id="5" creationId="{9E18E9E2-5C18-4DCA-A6C4-D2C2072CDB4D}"/>
          </ac:spMkLst>
        </pc:spChg>
        <pc:graphicFrameChg chg="mod modGraphic">
          <ac:chgData name="BORIS.WANG 王柏樺" userId="c5c44bbf-4402-4024-9f65-8f1484055d23" providerId="ADAL" clId="{EB5D1F21-A33A-48B9-B4DD-65177C78E1CD}" dt="2024-11-25T01:23:18.323" v="4549" actId="948"/>
          <ac:graphicFrameMkLst>
            <pc:docMk/>
            <pc:sldMk cId="1908397326" sldId="7155"/>
            <ac:graphicFrameMk id="4" creationId="{C99E7DE2-8153-7B9D-8713-D9F7F5A468A8}"/>
          </ac:graphicFrameMkLst>
        </pc:graphicFrameChg>
      </pc:sldChg>
      <pc:sldChg chg="new del">
        <pc:chgData name="BORIS.WANG 王柏樺" userId="c5c44bbf-4402-4024-9f65-8f1484055d23" providerId="ADAL" clId="{EB5D1F21-A33A-48B9-B4DD-65177C78E1CD}" dt="2024-11-20T04:51:38.442" v="3278" actId="680"/>
        <pc:sldMkLst>
          <pc:docMk/>
          <pc:sldMk cId="2463997569" sldId="7155"/>
        </pc:sldMkLst>
      </pc:sldChg>
      <pc:sldChg chg="modSp add del mod ord">
        <pc:chgData name="BORIS.WANG 王柏樺" userId="c5c44bbf-4402-4024-9f65-8f1484055d23" providerId="ADAL" clId="{EB5D1F21-A33A-48B9-B4DD-65177C78E1CD}" dt="2024-11-11T06:17:03.809" v="1376" actId="47"/>
        <pc:sldMkLst>
          <pc:docMk/>
          <pc:sldMk cId="4169966834" sldId="7156"/>
        </pc:sldMkLst>
        <pc:spChg chg="mod">
          <ac:chgData name="BORIS.WANG 王柏樺" userId="c5c44bbf-4402-4024-9f65-8f1484055d23" providerId="ADAL" clId="{EB5D1F21-A33A-48B9-B4DD-65177C78E1CD}" dt="2024-11-08T05:28:03.402" v="958" actId="20577"/>
          <ac:spMkLst>
            <pc:docMk/>
            <pc:sldMk cId="4169966834" sldId="7156"/>
            <ac:spMk id="5" creationId="{9E18E9E2-5C18-4DCA-A6C4-D2C2072CDB4D}"/>
          </ac:spMkLst>
        </pc:spChg>
        <pc:graphicFrameChg chg="mod">
          <ac:chgData name="BORIS.WANG 王柏樺" userId="c5c44bbf-4402-4024-9f65-8f1484055d23" providerId="ADAL" clId="{EB5D1F21-A33A-48B9-B4DD-65177C78E1CD}" dt="2024-11-08T05:26:35.971" v="946" actId="20577"/>
          <ac:graphicFrameMkLst>
            <pc:docMk/>
            <pc:sldMk cId="4169966834" sldId="7156"/>
            <ac:graphicFrameMk id="7" creationId="{BA229E62-5771-07C3-E8AF-5A815C92A74C}"/>
          </ac:graphicFrameMkLst>
        </pc:graphicFrameChg>
      </pc:sldChg>
      <pc:sldChg chg="delSp modSp add del mod">
        <pc:chgData name="BORIS.WANG 王柏樺" userId="c5c44bbf-4402-4024-9f65-8f1484055d23" providerId="ADAL" clId="{EB5D1F21-A33A-48B9-B4DD-65177C78E1CD}" dt="2024-11-08T05:45:15.391" v="1022" actId="47"/>
        <pc:sldMkLst>
          <pc:docMk/>
          <pc:sldMk cId="1787996027" sldId="7157"/>
        </pc:sldMkLst>
        <pc:spChg chg="mod">
          <ac:chgData name="BORIS.WANG 王柏樺" userId="c5c44bbf-4402-4024-9f65-8f1484055d23" providerId="ADAL" clId="{EB5D1F21-A33A-48B9-B4DD-65177C78E1CD}" dt="2024-11-08T05:28:30.478" v="1014" actId="20577"/>
          <ac:spMkLst>
            <pc:docMk/>
            <pc:sldMk cId="1787996027" sldId="7157"/>
            <ac:spMk id="5" creationId="{9E18E9E2-5C18-4DCA-A6C4-D2C2072CDB4D}"/>
          </ac:spMkLst>
        </pc:spChg>
        <pc:graphicFrameChg chg="del">
          <ac:chgData name="BORIS.WANG 王柏樺" userId="c5c44bbf-4402-4024-9f65-8f1484055d23" providerId="ADAL" clId="{EB5D1F21-A33A-48B9-B4DD-65177C78E1CD}" dt="2024-11-08T05:27:56.581" v="948" actId="478"/>
          <ac:graphicFrameMkLst>
            <pc:docMk/>
            <pc:sldMk cId="1787996027" sldId="7157"/>
            <ac:graphicFrameMk id="7" creationId="{BA229E62-5771-07C3-E8AF-5A815C92A74C}"/>
          </ac:graphicFrameMkLst>
        </pc:graphicFrameChg>
      </pc:sldChg>
    </pc:docChg>
  </pc:docChgLst>
  <pc:docChgLst>
    <pc:chgData name="BORIS.WANG 王柏樺" userId="c5c44bbf-4402-4024-9f65-8f1484055d23" providerId="ADAL" clId="{1F5BFAC1-3C12-4F63-95C1-B5DE69193B3F}"/>
    <pc:docChg chg="undo custSel addSld delSld modSld sldOrd">
      <pc:chgData name="BORIS.WANG 王柏樺" userId="c5c44bbf-4402-4024-9f65-8f1484055d23" providerId="ADAL" clId="{1F5BFAC1-3C12-4F63-95C1-B5DE69193B3F}" dt="2024-09-05T09:16:13.133" v="2071" actId="20577"/>
      <pc:docMkLst>
        <pc:docMk/>
      </pc:docMkLst>
      <pc:sldChg chg="addSp delSp modSp mod modNotesTx">
        <pc:chgData name="BORIS.WANG 王柏樺" userId="c5c44bbf-4402-4024-9f65-8f1484055d23" providerId="ADAL" clId="{1F5BFAC1-3C12-4F63-95C1-B5DE69193B3F}" dt="2024-09-05T09:11:38.292" v="1964" actId="20577"/>
        <pc:sldMkLst>
          <pc:docMk/>
          <pc:sldMk cId="3417539475" sldId="7121"/>
        </pc:sldMkLst>
        <pc:spChg chg="mod">
          <ac:chgData name="BORIS.WANG 王柏樺" userId="c5c44bbf-4402-4024-9f65-8f1484055d23" providerId="ADAL" clId="{1F5BFAC1-3C12-4F63-95C1-B5DE69193B3F}" dt="2024-09-05T06:46:33.656" v="27" actId="20577"/>
          <ac:spMkLst>
            <pc:docMk/>
            <pc:sldMk cId="3417539475" sldId="7121"/>
            <ac:spMk id="8" creationId="{508FD193-B566-4984-8C04-85E64E5DC6A1}"/>
          </ac:spMkLst>
        </pc:spChg>
        <pc:spChg chg="add mod">
          <ac:chgData name="BORIS.WANG 王柏樺" userId="c5c44bbf-4402-4024-9f65-8f1484055d23" providerId="ADAL" clId="{1F5BFAC1-3C12-4F63-95C1-B5DE69193B3F}" dt="2024-09-05T09:08:19.545" v="1834" actId="20577"/>
          <ac:spMkLst>
            <pc:docMk/>
            <pc:sldMk cId="3417539475" sldId="7121"/>
            <ac:spMk id="13" creationId="{8EDF7183-E005-FDEB-EE08-1C76874A778D}"/>
          </ac:spMkLst>
        </pc:spChg>
        <pc:spChg chg="add mod">
          <ac:chgData name="BORIS.WANG 王柏樺" userId="c5c44bbf-4402-4024-9f65-8f1484055d23" providerId="ADAL" clId="{1F5BFAC1-3C12-4F63-95C1-B5DE69193B3F}" dt="2024-09-05T09:08:52.192" v="1874" actId="20577"/>
          <ac:spMkLst>
            <pc:docMk/>
            <pc:sldMk cId="3417539475" sldId="7121"/>
            <ac:spMk id="14" creationId="{7927961D-85EC-7F28-90DA-6494FC754413}"/>
          </ac:spMkLst>
        </pc:spChg>
        <pc:spChg chg="add mod">
          <ac:chgData name="BORIS.WANG 王柏樺" userId="c5c44bbf-4402-4024-9f65-8f1484055d23" providerId="ADAL" clId="{1F5BFAC1-3C12-4F63-95C1-B5DE69193B3F}" dt="2024-09-05T09:11:01.458" v="1940" actId="1076"/>
          <ac:spMkLst>
            <pc:docMk/>
            <pc:sldMk cId="3417539475" sldId="7121"/>
            <ac:spMk id="15" creationId="{08846A99-B3AF-8515-73EA-16E0D6D756AA}"/>
          </ac:spMkLst>
        </pc:spChg>
        <pc:spChg chg="add mod">
          <ac:chgData name="BORIS.WANG 王柏樺" userId="c5c44bbf-4402-4024-9f65-8f1484055d23" providerId="ADAL" clId="{1F5BFAC1-3C12-4F63-95C1-B5DE69193B3F}" dt="2024-09-05T09:11:32.921" v="1961" actId="20577"/>
          <ac:spMkLst>
            <pc:docMk/>
            <pc:sldMk cId="3417539475" sldId="7121"/>
            <ac:spMk id="16" creationId="{206461E7-965F-6FFE-657E-4A41A420483A}"/>
          </ac:spMkLst>
        </pc:spChg>
        <pc:spChg chg="add mod">
          <ac:chgData name="BORIS.WANG 王柏樺" userId="c5c44bbf-4402-4024-9f65-8f1484055d23" providerId="ADAL" clId="{1F5BFAC1-3C12-4F63-95C1-B5DE69193B3F}" dt="2024-09-05T09:11:38.292" v="1964" actId="20577"/>
          <ac:spMkLst>
            <pc:docMk/>
            <pc:sldMk cId="3417539475" sldId="7121"/>
            <ac:spMk id="17" creationId="{914D35DB-D67D-427C-9CAA-2DEADCD3A721}"/>
          </ac:spMkLst>
        </pc:spChg>
        <pc:picChg chg="add del mod">
          <ac:chgData name="BORIS.WANG 王柏樺" userId="c5c44bbf-4402-4024-9f65-8f1484055d23" providerId="ADAL" clId="{1F5BFAC1-3C12-4F63-95C1-B5DE69193B3F}" dt="2024-09-05T06:42:24.037" v="7" actId="478"/>
          <ac:picMkLst>
            <pc:docMk/>
            <pc:sldMk cId="3417539475" sldId="7121"/>
            <ac:picMk id="6" creationId="{CC357739-A208-7266-4172-16011F64AE90}"/>
          </ac:picMkLst>
        </pc:picChg>
        <pc:picChg chg="add del mod">
          <ac:chgData name="BORIS.WANG 王柏樺" userId="c5c44bbf-4402-4024-9f65-8f1484055d23" providerId="ADAL" clId="{1F5BFAC1-3C12-4F63-95C1-B5DE69193B3F}" dt="2024-09-05T06:46:34.590" v="28" actId="21"/>
          <ac:picMkLst>
            <pc:docMk/>
            <pc:sldMk cId="3417539475" sldId="7121"/>
            <ac:picMk id="10" creationId="{6C0A8BEF-BB0B-03B7-BD1C-A6039FB2AEAE}"/>
          </ac:picMkLst>
        </pc:picChg>
        <pc:picChg chg="add mod">
          <ac:chgData name="BORIS.WANG 王柏樺" userId="c5c44bbf-4402-4024-9f65-8f1484055d23" providerId="ADAL" clId="{1F5BFAC1-3C12-4F63-95C1-B5DE69193B3F}" dt="2024-09-05T06:51:27.879" v="49" actId="1076"/>
          <ac:picMkLst>
            <pc:docMk/>
            <pc:sldMk cId="3417539475" sldId="7121"/>
            <ac:picMk id="12" creationId="{A026B064-2260-75B4-0DC8-B84356FD9B25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9:04:41.891" v="1761" actId="11529"/>
        <pc:sldMkLst>
          <pc:docMk/>
          <pc:sldMk cId="3995638820" sldId="7124"/>
        </pc:sldMkLst>
        <pc:spChg chg="add mod">
          <ac:chgData name="BORIS.WANG 王柏樺" userId="c5c44bbf-4402-4024-9f65-8f1484055d23" providerId="ADAL" clId="{1F5BFAC1-3C12-4F63-95C1-B5DE69193B3F}" dt="2024-09-05T08:54:27.691" v="1643" actId="20577"/>
          <ac:spMkLst>
            <pc:docMk/>
            <pc:sldMk cId="3995638820" sldId="7124"/>
            <ac:spMk id="12" creationId="{5AFC5EFD-97D3-B366-8651-533E563D1D08}"/>
          </ac:spMkLst>
        </pc:spChg>
        <pc:spChg chg="add mod">
          <ac:chgData name="BORIS.WANG 王柏樺" userId="c5c44bbf-4402-4024-9f65-8f1484055d23" providerId="ADAL" clId="{1F5BFAC1-3C12-4F63-95C1-B5DE69193B3F}" dt="2024-09-05T08:57:10.341" v="1655" actId="20577"/>
          <ac:spMkLst>
            <pc:docMk/>
            <pc:sldMk cId="3995638820" sldId="7124"/>
            <ac:spMk id="13" creationId="{8D121EE6-D47E-DDCF-D98F-0ADE2810C237}"/>
          </ac:spMkLst>
        </pc:spChg>
        <pc:spChg chg="add">
          <ac:chgData name="BORIS.WANG 王柏樺" userId="c5c44bbf-4402-4024-9f65-8f1484055d23" providerId="ADAL" clId="{1F5BFAC1-3C12-4F63-95C1-B5DE69193B3F}" dt="2024-09-05T09:03:07.342" v="1656" actId="11529"/>
          <ac:spMkLst>
            <pc:docMk/>
            <pc:sldMk cId="3995638820" sldId="7124"/>
            <ac:spMk id="14" creationId="{E4487B4A-4E6F-421E-1D8F-9B54E031295F}"/>
          </ac:spMkLst>
        </pc:spChg>
        <pc:spChg chg="add">
          <ac:chgData name="BORIS.WANG 王柏樺" userId="c5c44bbf-4402-4024-9f65-8f1484055d23" providerId="ADAL" clId="{1F5BFAC1-3C12-4F63-95C1-B5DE69193B3F}" dt="2024-09-05T09:04:41.891" v="1761" actId="11529"/>
          <ac:spMkLst>
            <pc:docMk/>
            <pc:sldMk cId="3995638820" sldId="7124"/>
            <ac:spMk id="15" creationId="{6D8D3A46-91B1-CDFC-969D-90A6934F189E}"/>
          </ac:spMkLst>
        </pc:spChg>
        <pc:picChg chg="del">
          <ac:chgData name="BORIS.WANG 王柏樺" userId="c5c44bbf-4402-4024-9f65-8f1484055d23" providerId="ADAL" clId="{1F5BFAC1-3C12-4F63-95C1-B5DE69193B3F}" dt="2024-09-05T06:48:33.826" v="39" actId="478"/>
          <ac:picMkLst>
            <pc:docMk/>
            <pc:sldMk cId="3995638820" sldId="7124"/>
            <ac:picMk id="6" creationId="{D86FA406-0C65-4B5F-7387-9AAF8DD558E6}"/>
          </ac:picMkLst>
        </pc:picChg>
        <pc:picChg chg="add del mod">
          <ac:chgData name="BORIS.WANG 王柏樺" userId="c5c44bbf-4402-4024-9f65-8f1484055d23" providerId="ADAL" clId="{1F5BFAC1-3C12-4F63-95C1-B5DE69193B3F}" dt="2024-09-05T08:52:36.768" v="1613" actId="478"/>
          <ac:picMkLst>
            <pc:docMk/>
            <pc:sldMk cId="3995638820" sldId="7124"/>
            <ac:picMk id="9" creationId="{C4421AC5-CBE8-7C19-24E7-957C02B232AE}"/>
          </ac:picMkLst>
        </pc:picChg>
        <pc:picChg chg="add mod">
          <ac:chgData name="BORIS.WANG 王柏樺" userId="c5c44bbf-4402-4024-9f65-8f1484055d23" providerId="ADAL" clId="{1F5BFAC1-3C12-4F63-95C1-B5DE69193B3F}" dt="2024-09-05T08:53:53.470" v="1615" actId="1076"/>
          <ac:picMkLst>
            <pc:docMk/>
            <pc:sldMk cId="3995638820" sldId="7124"/>
            <ac:picMk id="11" creationId="{52D1B8EC-13D9-5A63-3FD4-D7D3B85FE39E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8:52:31.562" v="1612" actId="478"/>
        <pc:sldMkLst>
          <pc:docMk/>
          <pc:sldMk cId="2071955140" sldId="7126"/>
        </pc:sldMkLst>
        <pc:spChg chg="add mod">
          <ac:chgData name="BORIS.WANG 王柏樺" userId="c5c44bbf-4402-4024-9f65-8f1484055d23" providerId="ADAL" clId="{1F5BFAC1-3C12-4F63-95C1-B5DE69193B3F}" dt="2024-09-05T08:48:44.039" v="1466" actId="20577"/>
          <ac:spMkLst>
            <pc:docMk/>
            <pc:sldMk cId="2071955140" sldId="7126"/>
            <ac:spMk id="14" creationId="{D25FA5D8-0C4A-3648-2A27-4E545A68A1D0}"/>
          </ac:spMkLst>
        </pc:spChg>
        <pc:spChg chg="add mod">
          <ac:chgData name="BORIS.WANG 王柏樺" userId="c5c44bbf-4402-4024-9f65-8f1484055d23" providerId="ADAL" clId="{1F5BFAC1-3C12-4F63-95C1-B5DE69193B3F}" dt="2024-09-05T08:45:32.010" v="1251" actId="20577"/>
          <ac:spMkLst>
            <pc:docMk/>
            <pc:sldMk cId="2071955140" sldId="7126"/>
            <ac:spMk id="15" creationId="{848FF9AA-DBFA-8B69-B3A8-26BCA8AB59E5}"/>
          </ac:spMkLst>
        </pc:spChg>
        <pc:spChg chg="add mod">
          <ac:chgData name="BORIS.WANG 王柏樺" userId="c5c44bbf-4402-4024-9f65-8f1484055d23" providerId="ADAL" clId="{1F5BFAC1-3C12-4F63-95C1-B5DE69193B3F}" dt="2024-09-05T08:47:06.535" v="1256" actId="14100"/>
          <ac:spMkLst>
            <pc:docMk/>
            <pc:sldMk cId="2071955140" sldId="7126"/>
            <ac:spMk id="16" creationId="{FA8E68B6-AE62-C9BB-5ABB-3B9CA6D48198}"/>
          </ac:spMkLst>
        </pc:spChg>
        <pc:spChg chg="add mod">
          <ac:chgData name="BORIS.WANG 王柏樺" userId="c5c44bbf-4402-4024-9f65-8f1484055d23" providerId="ADAL" clId="{1F5BFAC1-3C12-4F63-95C1-B5DE69193B3F}" dt="2024-09-05T08:50:58.762" v="1591" actId="20577"/>
          <ac:spMkLst>
            <pc:docMk/>
            <pc:sldMk cId="2071955140" sldId="7126"/>
            <ac:spMk id="17" creationId="{6848872A-030B-3D56-B80E-E430B127CC4D}"/>
          </ac:spMkLst>
        </pc:spChg>
        <pc:spChg chg="add mod">
          <ac:chgData name="BORIS.WANG 王柏樺" userId="c5c44bbf-4402-4024-9f65-8f1484055d23" providerId="ADAL" clId="{1F5BFAC1-3C12-4F63-95C1-B5DE69193B3F}" dt="2024-09-05T08:49:31.001" v="1500" actId="1076"/>
          <ac:spMkLst>
            <pc:docMk/>
            <pc:sldMk cId="2071955140" sldId="7126"/>
            <ac:spMk id="18" creationId="{8862ECAF-83E1-6516-9E99-82E4D3D01F52}"/>
          </ac:spMkLst>
        </pc:spChg>
        <pc:spChg chg="add mod">
          <ac:chgData name="BORIS.WANG 王柏樺" userId="c5c44bbf-4402-4024-9f65-8f1484055d23" providerId="ADAL" clId="{1F5BFAC1-3C12-4F63-95C1-B5DE69193B3F}" dt="2024-09-05T08:51:05.424" v="1602" actId="20577"/>
          <ac:spMkLst>
            <pc:docMk/>
            <pc:sldMk cId="2071955140" sldId="7126"/>
            <ac:spMk id="19" creationId="{6B524F2E-3EDE-DCB2-1467-92414869CF53}"/>
          </ac:spMkLst>
        </pc:spChg>
        <pc:spChg chg="add del mod">
          <ac:chgData name="BORIS.WANG 王柏樺" userId="c5c44bbf-4402-4024-9f65-8f1484055d23" providerId="ADAL" clId="{1F5BFAC1-3C12-4F63-95C1-B5DE69193B3F}" dt="2024-09-05T08:52:31.562" v="1612" actId="478"/>
          <ac:spMkLst>
            <pc:docMk/>
            <pc:sldMk cId="2071955140" sldId="7126"/>
            <ac:spMk id="20" creationId="{D7FF3F87-2BE5-98E0-EEEF-29A9129F8B5B}"/>
          </ac:spMkLst>
        </pc:spChg>
        <pc:picChg chg="del">
          <ac:chgData name="BORIS.WANG 王柏樺" userId="c5c44bbf-4402-4024-9f65-8f1484055d23" providerId="ADAL" clId="{1F5BFAC1-3C12-4F63-95C1-B5DE69193B3F}" dt="2024-09-05T06:51:32.681" v="50" actId="478"/>
          <ac:picMkLst>
            <pc:docMk/>
            <pc:sldMk cId="2071955140" sldId="7126"/>
            <ac:picMk id="5" creationId="{695318E8-2FEA-9BC4-6318-E1D57B723309}"/>
          </ac:picMkLst>
        </pc:picChg>
        <pc:picChg chg="add del mod">
          <ac:chgData name="BORIS.WANG 王柏樺" userId="c5c44bbf-4402-4024-9f65-8f1484055d23" providerId="ADAL" clId="{1F5BFAC1-3C12-4F63-95C1-B5DE69193B3F}" dt="2024-09-05T06:53:06.209" v="55" actId="478"/>
          <ac:picMkLst>
            <pc:docMk/>
            <pc:sldMk cId="2071955140" sldId="7126"/>
            <ac:picMk id="9" creationId="{2805E63C-E130-AEF2-594B-D2561AB16FD6}"/>
          </ac:picMkLst>
        </pc:picChg>
        <pc:picChg chg="add del mod">
          <ac:chgData name="BORIS.WANG 王柏樺" userId="c5c44bbf-4402-4024-9f65-8f1484055d23" providerId="ADAL" clId="{1F5BFAC1-3C12-4F63-95C1-B5DE69193B3F}" dt="2024-09-05T08:41:46.900" v="1219" actId="478"/>
          <ac:picMkLst>
            <pc:docMk/>
            <pc:sldMk cId="2071955140" sldId="7126"/>
            <ac:picMk id="11" creationId="{F10883A4-26B1-A96B-F20B-8B70845F2C3C}"/>
          </ac:picMkLst>
        </pc:picChg>
        <pc:picChg chg="add mod">
          <ac:chgData name="BORIS.WANG 王柏樺" userId="c5c44bbf-4402-4024-9f65-8f1484055d23" providerId="ADAL" clId="{1F5BFAC1-3C12-4F63-95C1-B5DE69193B3F}" dt="2024-09-05T08:52:08.732" v="1608" actId="1076"/>
          <ac:picMkLst>
            <pc:docMk/>
            <pc:sldMk cId="2071955140" sldId="7126"/>
            <ac:picMk id="13" creationId="{45CEFD18-D7BE-0220-2AFD-38D9679C32AE}"/>
          </ac:picMkLst>
        </pc:picChg>
      </pc:sldChg>
      <pc:sldChg chg="addSp delSp modSp mod ord modNotesTx">
        <pc:chgData name="BORIS.WANG 王柏樺" userId="c5c44bbf-4402-4024-9f65-8f1484055d23" providerId="ADAL" clId="{1F5BFAC1-3C12-4F63-95C1-B5DE69193B3F}" dt="2024-09-05T08:46:46.714" v="1252" actId="20577"/>
        <pc:sldMkLst>
          <pc:docMk/>
          <pc:sldMk cId="3203831614" sldId="7131"/>
        </pc:sldMkLst>
        <pc:spChg chg="add del mod">
          <ac:chgData name="BORIS.WANG 王柏樺" userId="c5c44bbf-4402-4024-9f65-8f1484055d23" providerId="ADAL" clId="{1F5BFAC1-3C12-4F63-95C1-B5DE69193B3F}" dt="2024-09-05T08:36:35.952" v="1039" actId="478"/>
          <ac:spMkLst>
            <pc:docMk/>
            <pc:sldMk cId="3203831614" sldId="7131"/>
            <ac:spMk id="9" creationId="{82BDBF2E-CCA8-2793-192C-CC5F139AAD30}"/>
          </ac:spMkLst>
        </pc:spChg>
        <pc:spChg chg="add del mod">
          <ac:chgData name="BORIS.WANG 王柏樺" userId="c5c44bbf-4402-4024-9f65-8f1484055d23" providerId="ADAL" clId="{1F5BFAC1-3C12-4F63-95C1-B5DE69193B3F}" dt="2024-09-05T08:37:07.191" v="1073" actId="478"/>
          <ac:spMkLst>
            <pc:docMk/>
            <pc:sldMk cId="3203831614" sldId="7131"/>
            <ac:spMk id="11" creationId="{C690E2D6-A708-A27F-3060-0A3F8FD5B409}"/>
          </ac:spMkLst>
        </pc:spChg>
        <pc:spChg chg="add del mod">
          <ac:chgData name="BORIS.WANG 王柏樺" userId="c5c44bbf-4402-4024-9f65-8f1484055d23" providerId="ADAL" clId="{1F5BFAC1-3C12-4F63-95C1-B5DE69193B3F}" dt="2024-09-05T08:36:09.832" v="1038" actId="478"/>
          <ac:spMkLst>
            <pc:docMk/>
            <pc:sldMk cId="3203831614" sldId="7131"/>
            <ac:spMk id="12" creationId="{D0BDD86F-0C3D-2E6C-00D4-1EA8A94A65F7}"/>
          </ac:spMkLst>
        </pc:spChg>
        <pc:spChg chg="add mod">
          <ac:chgData name="BORIS.WANG 王柏樺" userId="c5c44bbf-4402-4024-9f65-8f1484055d23" providerId="ADAL" clId="{1F5BFAC1-3C12-4F63-95C1-B5DE69193B3F}" dt="2024-09-05T08:27:00.867" v="358" actId="1076"/>
          <ac:spMkLst>
            <pc:docMk/>
            <pc:sldMk cId="3203831614" sldId="7131"/>
            <ac:spMk id="13" creationId="{6F65A6CA-3FD1-F348-3A69-C3D5E9128524}"/>
          </ac:spMkLst>
        </pc:spChg>
        <pc:spChg chg="add mod">
          <ac:chgData name="BORIS.WANG 王柏樺" userId="c5c44bbf-4402-4024-9f65-8f1484055d23" providerId="ADAL" clId="{1F5BFAC1-3C12-4F63-95C1-B5DE69193B3F}" dt="2024-09-05T08:29:51.949" v="662" actId="1076"/>
          <ac:spMkLst>
            <pc:docMk/>
            <pc:sldMk cId="3203831614" sldId="7131"/>
            <ac:spMk id="14" creationId="{5B1C873E-BFF5-B506-902A-112DF37E86E0}"/>
          </ac:spMkLst>
        </pc:spChg>
        <pc:spChg chg="add mod">
          <ac:chgData name="BORIS.WANG 王柏樺" userId="c5c44bbf-4402-4024-9f65-8f1484055d23" providerId="ADAL" clId="{1F5BFAC1-3C12-4F63-95C1-B5DE69193B3F}" dt="2024-09-05T08:31:02.307" v="769" actId="14100"/>
          <ac:spMkLst>
            <pc:docMk/>
            <pc:sldMk cId="3203831614" sldId="7131"/>
            <ac:spMk id="15" creationId="{28C36F5B-64FA-B6FD-4D91-04B02396FE7E}"/>
          </ac:spMkLst>
        </pc:spChg>
        <pc:spChg chg="add del mod">
          <ac:chgData name="BORIS.WANG 王柏樺" userId="c5c44bbf-4402-4024-9f65-8f1484055d23" providerId="ADAL" clId="{1F5BFAC1-3C12-4F63-95C1-B5DE69193B3F}" dt="2024-09-05T08:40:04.337" v="1196" actId="478"/>
          <ac:spMkLst>
            <pc:docMk/>
            <pc:sldMk cId="3203831614" sldId="7131"/>
            <ac:spMk id="16" creationId="{16A52D40-5560-A239-289C-E96936CC6A8C}"/>
          </ac:spMkLst>
        </pc:spChg>
        <pc:spChg chg="add mod">
          <ac:chgData name="BORIS.WANG 王柏樺" userId="c5c44bbf-4402-4024-9f65-8f1484055d23" providerId="ADAL" clId="{1F5BFAC1-3C12-4F63-95C1-B5DE69193B3F}" dt="2024-09-05T08:36:58.898" v="1072" actId="20577"/>
          <ac:spMkLst>
            <pc:docMk/>
            <pc:sldMk cId="3203831614" sldId="7131"/>
            <ac:spMk id="17" creationId="{19933547-CF1D-9F6D-207D-A49FF0B09146}"/>
          </ac:spMkLst>
        </pc:spChg>
        <pc:spChg chg="add mod">
          <ac:chgData name="BORIS.WANG 王柏樺" userId="c5c44bbf-4402-4024-9f65-8f1484055d23" providerId="ADAL" clId="{1F5BFAC1-3C12-4F63-95C1-B5DE69193B3F}" dt="2024-09-05T08:37:23.498" v="1081" actId="20577"/>
          <ac:spMkLst>
            <pc:docMk/>
            <pc:sldMk cId="3203831614" sldId="7131"/>
            <ac:spMk id="18" creationId="{076A3CA2-FDAD-50AE-CA32-B42978EA3F04}"/>
          </ac:spMkLst>
        </pc:spChg>
        <pc:spChg chg="add del mod">
          <ac:chgData name="BORIS.WANG 王柏樺" userId="c5c44bbf-4402-4024-9f65-8f1484055d23" providerId="ADAL" clId="{1F5BFAC1-3C12-4F63-95C1-B5DE69193B3F}" dt="2024-09-05T08:37:31.563" v="1083"/>
          <ac:spMkLst>
            <pc:docMk/>
            <pc:sldMk cId="3203831614" sldId="7131"/>
            <ac:spMk id="19" creationId="{1260D0C7-D918-AB2F-9ED7-6AF4FC55F658}"/>
          </ac:spMkLst>
        </pc:spChg>
        <pc:spChg chg="add del mod">
          <ac:chgData name="BORIS.WANG 王柏樺" userId="c5c44bbf-4402-4024-9f65-8f1484055d23" providerId="ADAL" clId="{1F5BFAC1-3C12-4F63-95C1-B5DE69193B3F}" dt="2024-09-05T08:37:40.885" v="1087" actId="478"/>
          <ac:spMkLst>
            <pc:docMk/>
            <pc:sldMk cId="3203831614" sldId="7131"/>
            <ac:spMk id="20" creationId="{252B7FAA-BEB4-A0AD-376B-BE5D8F666319}"/>
          </ac:spMkLst>
        </pc:spChg>
        <pc:spChg chg="add mod">
          <ac:chgData name="BORIS.WANG 王柏樺" userId="c5c44bbf-4402-4024-9f65-8f1484055d23" providerId="ADAL" clId="{1F5BFAC1-3C12-4F63-95C1-B5DE69193B3F}" dt="2024-09-05T08:38:14.884" v="1118" actId="20577"/>
          <ac:spMkLst>
            <pc:docMk/>
            <pc:sldMk cId="3203831614" sldId="7131"/>
            <ac:spMk id="21" creationId="{00DABB3B-F465-E537-888E-04234958671B}"/>
          </ac:spMkLst>
        </pc:spChg>
        <pc:spChg chg="add mod">
          <ac:chgData name="BORIS.WANG 王柏樺" userId="c5c44bbf-4402-4024-9f65-8f1484055d23" providerId="ADAL" clId="{1F5BFAC1-3C12-4F63-95C1-B5DE69193B3F}" dt="2024-09-05T08:38:22.820" v="1124" actId="20577"/>
          <ac:spMkLst>
            <pc:docMk/>
            <pc:sldMk cId="3203831614" sldId="7131"/>
            <ac:spMk id="22" creationId="{4CF345CF-0343-D32D-A04D-343DABD3E6E4}"/>
          </ac:spMkLst>
        </pc:spChg>
        <pc:spChg chg="add mod">
          <ac:chgData name="BORIS.WANG 王柏樺" userId="c5c44bbf-4402-4024-9f65-8f1484055d23" providerId="ADAL" clId="{1F5BFAC1-3C12-4F63-95C1-B5DE69193B3F}" dt="2024-09-05T08:39:01.968" v="1148" actId="20577"/>
          <ac:spMkLst>
            <pc:docMk/>
            <pc:sldMk cId="3203831614" sldId="7131"/>
            <ac:spMk id="23" creationId="{D385D835-6DE9-2837-ED31-C47147609FE1}"/>
          </ac:spMkLst>
        </pc:spChg>
        <pc:spChg chg="add mod">
          <ac:chgData name="BORIS.WANG 王柏樺" userId="c5c44bbf-4402-4024-9f65-8f1484055d23" providerId="ADAL" clId="{1F5BFAC1-3C12-4F63-95C1-B5DE69193B3F}" dt="2024-09-05T08:39:19.068" v="1192" actId="20577"/>
          <ac:spMkLst>
            <pc:docMk/>
            <pc:sldMk cId="3203831614" sldId="7131"/>
            <ac:spMk id="24" creationId="{04728BC9-F0F0-9D80-19EE-48118235A50E}"/>
          </ac:spMkLst>
        </pc:spChg>
        <pc:spChg chg="add mod">
          <ac:chgData name="BORIS.WANG 王柏樺" userId="c5c44bbf-4402-4024-9f65-8f1484055d23" providerId="ADAL" clId="{1F5BFAC1-3C12-4F63-95C1-B5DE69193B3F}" dt="2024-09-05T08:39:54.092" v="1195" actId="1076"/>
          <ac:spMkLst>
            <pc:docMk/>
            <pc:sldMk cId="3203831614" sldId="7131"/>
            <ac:spMk id="25" creationId="{03F73BFA-3B5F-0D52-108B-B2057953A22C}"/>
          </ac:spMkLst>
        </pc:spChg>
        <pc:spChg chg="add mod">
          <ac:chgData name="BORIS.WANG 王柏樺" userId="c5c44bbf-4402-4024-9f65-8f1484055d23" providerId="ADAL" clId="{1F5BFAC1-3C12-4F63-95C1-B5DE69193B3F}" dt="2024-09-05T08:40:13.563" v="1218" actId="20577"/>
          <ac:spMkLst>
            <pc:docMk/>
            <pc:sldMk cId="3203831614" sldId="7131"/>
            <ac:spMk id="26" creationId="{F12314B6-ADBE-C4B4-AE38-F15937C4AAD4}"/>
          </ac:spMkLst>
        </pc:spChg>
        <pc:picChg chg="add mod">
          <ac:chgData name="BORIS.WANG 王柏樺" userId="c5c44bbf-4402-4024-9f65-8f1484055d23" providerId="ADAL" clId="{1F5BFAC1-3C12-4F63-95C1-B5DE69193B3F}" dt="2024-09-05T08:31:53.291" v="888" actId="1076"/>
          <ac:picMkLst>
            <pc:docMk/>
            <pc:sldMk cId="3203831614" sldId="7131"/>
            <ac:picMk id="7" creationId="{9ABEF35A-977E-A629-7B09-7197B3D169FD}"/>
          </ac:picMkLst>
        </pc:picChg>
        <pc:picChg chg="del">
          <ac:chgData name="BORIS.WANG 王柏樺" userId="c5c44bbf-4402-4024-9f65-8f1484055d23" providerId="ADAL" clId="{1F5BFAC1-3C12-4F63-95C1-B5DE69193B3F}" dt="2024-09-05T06:46:36.629" v="29" actId="478"/>
          <ac:picMkLst>
            <pc:docMk/>
            <pc:sldMk cId="3203831614" sldId="7131"/>
            <ac:picMk id="10" creationId="{3F22F3A7-FF23-561E-DC4C-7E77C0576B95}"/>
          </ac:picMkLst>
        </pc:picChg>
      </pc:sldChg>
      <pc:sldChg chg="addSp delSp modSp mod">
        <pc:chgData name="BORIS.WANG 王柏樺" userId="c5c44bbf-4402-4024-9f65-8f1484055d23" providerId="ADAL" clId="{1F5BFAC1-3C12-4F63-95C1-B5DE69193B3F}" dt="2024-09-05T06:56:01.300" v="65" actId="1076"/>
        <pc:sldMkLst>
          <pc:docMk/>
          <pc:sldMk cId="4071556824" sldId="7133"/>
        </pc:sldMkLst>
        <pc:picChg chg="del">
          <ac:chgData name="BORIS.WANG 王柏樺" userId="c5c44bbf-4402-4024-9f65-8f1484055d23" providerId="ADAL" clId="{1F5BFAC1-3C12-4F63-95C1-B5DE69193B3F}" dt="2024-09-05T06:55:11.494" v="58" actId="478"/>
          <ac:picMkLst>
            <pc:docMk/>
            <pc:sldMk cId="4071556824" sldId="7133"/>
            <ac:picMk id="7" creationId="{3BB2E2ED-1650-2FA0-CE67-31A498F49A7B}"/>
          </ac:picMkLst>
        </pc:picChg>
        <pc:picChg chg="add mod">
          <ac:chgData name="BORIS.WANG 王柏樺" userId="c5c44bbf-4402-4024-9f65-8f1484055d23" providerId="ADAL" clId="{1F5BFAC1-3C12-4F63-95C1-B5DE69193B3F}" dt="2024-09-05T06:56:01.300" v="65" actId="1076"/>
          <ac:picMkLst>
            <pc:docMk/>
            <pc:sldMk cId="4071556824" sldId="7133"/>
            <ac:picMk id="8" creationId="{A873A6C0-FF1F-F25A-333B-7A287918F945}"/>
          </ac:picMkLst>
        </pc:picChg>
      </pc:sldChg>
      <pc:sldChg chg="addSp delSp modSp mod">
        <pc:chgData name="BORIS.WANG 王柏樺" userId="c5c44bbf-4402-4024-9f65-8f1484055d23" providerId="ADAL" clId="{1F5BFAC1-3C12-4F63-95C1-B5DE69193B3F}" dt="2024-09-05T06:57:21.999" v="68" actId="14100"/>
        <pc:sldMkLst>
          <pc:docMk/>
          <pc:sldMk cId="712914876" sldId="7136"/>
        </pc:sldMkLst>
        <pc:picChg chg="del">
          <ac:chgData name="BORIS.WANG 王柏樺" userId="c5c44bbf-4402-4024-9f65-8f1484055d23" providerId="ADAL" clId="{1F5BFAC1-3C12-4F63-95C1-B5DE69193B3F}" dt="2024-09-05T06:55:14.298" v="59" actId="478"/>
          <ac:picMkLst>
            <pc:docMk/>
            <pc:sldMk cId="712914876" sldId="7136"/>
            <ac:picMk id="7" creationId="{6C33CB5C-8FD7-0336-9C9C-3CEB67902667}"/>
          </ac:picMkLst>
        </pc:picChg>
        <pc:picChg chg="add del">
          <ac:chgData name="BORIS.WANG 王柏樺" userId="c5c44bbf-4402-4024-9f65-8f1484055d23" providerId="ADAL" clId="{1F5BFAC1-3C12-4F63-95C1-B5DE69193B3F}" dt="2024-09-05T06:55:55.816" v="61" actId="21"/>
          <ac:picMkLst>
            <pc:docMk/>
            <pc:sldMk cId="712914876" sldId="7136"/>
            <ac:picMk id="10" creationId="{8DE9E725-43AE-B0B7-3175-110FCF962098}"/>
          </ac:picMkLst>
        </pc:picChg>
        <pc:picChg chg="add mod">
          <ac:chgData name="BORIS.WANG 王柏樺" userId="c5c44bbf-4402-4024-9f65-8f1484055d23" providerId="ADAL" clId="{1F5BFAC1-3C12-4F63-95C1-B5DE69193B3F}" dt="2024-09-05T06:57:21.999" v="68" actId="14100"/>
          <ac:picMkLst>
            <pc:docMk/>
            <pc:sldMk cId="712914876" sldId="7136"/>
            <ac:picMk id="12" creationId="{02B983C9-0EB2-3724-36AA-F01D44C5E63A}"/>
          </ac:picMkLst>
        </pc:picChg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328965488" sldId="7138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130892009" sldId="7139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4218949006" sldId="7140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1046405777" sldId="7141"/>
        </pc:sldMkLst>
      </pc:sldChg>
      <pc:sldChg chg="addSp delSp modSp mod ord">
        <pc:chgData name="BORIS.WANG 王柏樺" userId="c5c44bbf-4402-4024-9f65-8f1484055d23" providerId="ADAL" clId="{1F5BFAC1-3C12-4F63-95C1-B5DE69193B3F}" dt="2024-09-05T09:06:49.117" v="1814" actId="20577"/>
        <pc:sldMkLst>
          <pc:docMk/>
          <pc:sldMk cId="3372266045" sldId="7144"/>
        </pc:sldMkLst>
        <pc:spChg chg="add mod">
          <ac:chgData name="BORIS.WANG 王柏樺" userId="c5c44bbf-4402-4024-9f65-8f1484055d23" providerId="ADAL" clId="{1F5BFAC1-3C12-4F63-95C1-B5DE69193B3F}" dt="2024-09-05T09:06:43.576" v="1794" actId="20577"/>
          <ac:spMkLst>
            <pc:docMk/>
            <pc:sldMk cId="3372266045" sldId="7144"/>
            <ac:spMk id="9" creationId="{AB5DF612-A107-5272-F04E-A1F7C3C4EF1D}"/>
          </ac:spMkLst>
        </pc:spChg>
        <pc:spChg chg="add mod">
          <ac:chgData name="BORIS.WANG 王柏樺" userId="c5c44bbf-4402-4024-9f65-8f1484055d23" providerId="ADAL" clId="{1F5BFAC1-3C12-4F63-95C1-B5DE69193B3F}" dt="2024-09-05T09:06:49.117" v="1814" actId="20577"/>
          <ac:spMkLst>
            <pc:docMk/>
            <pc:sldMk cId="3372266045" sldId="7144"/>
            <ac:spMk id="10" creationId="{0D79BE53-CA30-787A-E15C-305DCC211EE9}"/>
          </ac:spMkLst>
        </pc:spChg>
        <pc:picChg chg="add mod">
          <ac:chgData name="BORIS.WANG 王柏樺" userId="c5c44bbf-4402-4024-9f65-8f1484055d23" providerId="ADAL" clId="{1F5BFAC1-3C12-4F63-95C1-B5DE69193B3F}" dt="2024-09-05T09:06:28.812" v="1768" actId="1076"/>
          <ac:picMkLst>
            <pc:docMk/>
            <pc:sldMk cId="3372266045" sldId="7144"/>
            <ac:picMk id="8" creationId="{4BDB041C-AFC1-0F67-5CA5-F4CE529AD92A}"/>
          </ac:picMkLst>
        </pc:picChg>
        <pc:picChg chg="del">
          <ac:chgData name="BORIS.WANG 王柏樺" userId="c5c44bbf-4402-4024-9f65-8f1484055d23" providerId="ADAL" clId="{1F5BFAC1-3C12-4F63-95C1-B5DE69193B3F}" dt="2024-09-05T06:46:00.090" v="12" actId="478"/>
          <ac:picMkLst>
            <pc:docMk/>
            <pc:sldMk cId="3372266045" sldId="7144"/>
            <ac:picMk id="13" creationId="{98EF0D0C-2F50-5999-5CA9-20741B0169F0}"/>
          </ac:picMkLst>
        </pc:picChg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306778190" sldId="7145"/>
        </pc:sldMkLst>
      </pc:sldChg>
      <pc:sldChg chg="ord">
        <pc:chgData name="BORIS.WANG 王柏樺" userId="c5c44bbf-4402-4024-9f65-8f1484055d23" providerId="ADAL" clId="{1F5BFAC1-3C12-4F63-95C1-B5DE69193B3F}" dt="2024-09-05T06:41:41.746" v="1"/>
        <pc:sldMkLst>
          <pc:docMk/>
          <pc:sldMk cId="3629440781" sldId="7146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3806578" sldId="7147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888625707" sldId="7148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57560016" sldId="7149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4076533501" sldId="7150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463854752" sldId="7151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2992931649" sldId="7152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4045229986" sldId="7153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3601980291" sldId="7154"/>
        </pc:sldMkLst>
      </pc:sldChg>
      <pc:sldChg chg="ord">
        <pc:chgData name="BORIS.WANG 王柏樺" userId="c5c44bbf-4402-4024-9f65-8f1484055d23" providerId="ADAL" clId="{1F5BFAC1-3C12-4F63-95C1-B5DE69193B3F}" dt="2024-09-05T06:42:08.400" v="3"/>
        <pc:sldMkLst>
          <pc:docMk/>
          <pc:sldMk cId="1639342179" sldId="7155"/>
        </pc:sldMkLst>
      </pc:sldChg>
      <pc:sldChg chg="addSp delSp modSp add mod">
        <pc:chgData name="BORIS.WANG 王柏樺" userId="c5c44bbf-4402-4024-9f65-8f1484055d23" providerId="ADAL" clId="{1F5BFAC1-3C12-4F63-95C1-B5DE69193B3F}" dt="2024-09-05T09:16:13.133" v="2071" actId="20577"/>
        <pc:sldMkLst>
          <pc:docMk/>
          <pc:sldMk cId="1872915408" sldId="7156"/>
        </pc:sldMkLst>
        <pc:spChg chg="mod">
          <ac:chgData name="BORIS.WANG 王柏樺" userId="c5c44bbf-4402-4024-9f65-8f1484055d23" providerId="ADAL" clId="{1F5BFAC1-3C12-4F63-95C1-B5DE69193B3F}" dt="2024-09-05T07:15:21.470" v="101" actId="20577"/>
          <ac:spMkLst>
            <pc:docMk/>
            <pc:sldMk cId="1872915408" sldId="7156"/>
            <ac:spMk id="2" creationId="{EFA231BD-EB9C-C78A-167E-79E76FAC1D05}"/>
          </ac:spMkLst>
        </pc:spChg>
        <pc:spChg chg="mod">
          <ac:chgData name="BORIS.WANG 王柏樺" userId="c5c44bbf-4402-4024-9f65-8f1484055d23" providerId="ADAL" clId="{1F5BFAC1-3C12-4F63-95C1-B5DE69193B3F}" dt="2024-09-05T09:16:13.133" v="2071" actId="20577"/>
          <ac:spMkLst>
            <pc:docMk/>
            <pc:sldMk cId="1872915408" sldId="7156"/>
            <ac:spMk id="9" creationId="{E960D437-9CB0-4060-C373-DF89410DFA3D}"/>
          </ac:spMkLst>
        </pc:spChg>
        <pc:picChg chg="add mod">
          <ac:chgData name="BORIS.WANG 王柏樺" userId="c5c44bbf-4402-4024-9f65-8f1484055d23" providerId="ADAL" clId="{1F5BFAC1-3C12-4F63-95C1-B5DE69193B3F}" dt="2024-09-05T07:16:17.225" v="131" actId="1076"/>
          <ac:picMkLst>
            <pc:docMk/>
            <pc:sldMk cId="1872915408" sldId="7156"/>
            <ac:picMk id="8" creationId="{B0928DEA-FB94-8493-68AF-E1B533911B22}"/>
          </ac:picMkLst>
        </pc:picChg>
        <pc:picChg chg="del">
          <ac:chgData name="BORIS.WANG 王柏樺" userId="c5c44bbf-4402-4024-9f65-8f1484055d23" providerId="ADAL" clId="{1F5BFAC1-3C12-4F63-95C1-B5DE69193B3F}" dt="2024-09-05T07:15:33.542" v="121" actId="478"/>
          <ac:picMkLst>
            <pc:docMk/>
            <pc:sldMk cId="1872915408" sldId="7156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7:38:19.819" v="322"/>
        <pc:sldMkLst>
          <pc:docMk/>
          <pc:sldMk cId="108807086" sldId="7157"/>
        </pc:sldMkLst>
        <pc:spChg chg="mod">
          <ac:chgData name="BORIS.WANG 王柏樺" userId="c5c44bbf-4402-4024-9f65-8f1484055d23" providerId="ADAL" clId="{1F5BFAC1-3C12-4F63-95C1-B5DE69193B3F}" dt="2024-09-05T07:16:30.410" v="152" actId="20577"/>
          <ac:spMkLst>
            <pc:docMk/>
            <pc:sldMk cId="108807086" sldId="7157"/>
            <ac:spMk id="2" creationId="{EFA231BD-EB9C-C78A-167E-79E76FAC1D05}"/>
          </ac:spMkLst>
        </pc:spChg>
        <pc:spChg chg="del">
          <ac:chgData name="BORIS.WANG 王柏樺" userId="c5c44bbf-4402-4024-9f65-8f1484055d23" providerId="ADAL" clId="{1F5BFAC1-3C12-4F63-95C1-B5DE69193B3F}" dt="2024-09-05T07:38:19.637" v="321" actId="478"/>
          <ac:spMkLst>
            <pc:docMk/>
            <pc:sldMk cId="108807086" sldId="7157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19.819" v="322"/>
          <ac:spMkLst>
            <pc:docMk/>
            <pc:sldMk cId="108807086" sldId="7157"/>
            <ac:spMk id="10" creationId="{AB435006-ECA2-A045-AF0D-F23F4B6D1567}"/>
          </ac:spMkLst>
        </pc:spChg>
        <pc:picChg chg="add mod">
          <ac:chgData name="BORIS.WANG 王柏樺" userId="c5c44bbf-4402-4024-9f65-8f1484055d23" providerId="ADAL" clId="{1F5BFAC1-3C12-4F63-95C1-B5DE69193B3F}" dt="2024-09-05T07:17:14.375" v="154" actId="1076"/>
          <ac:picMkLst>
            <pc:docMk/>
            <pc:sldMk cId="108807086" sldId="7157"/>
            <ac:picMk id="8" creationId="{ED4E247B-5591-295D-417D-A11479698E20}"/>
          </ac:picMkLst>
        </pc:picChg>
      </pc:sldChg>
      <pc:sldChg chg="delSp add del mod">
        <pc:chgData name="BORIS.WANG 王柏樺" userId="c5c44bbf-4402-4024-9f65-8f1484055d23" providerId="ADAL" clId="{1F5BFAC1-3C12-4F63-95C1-B5DE69193B3F}" dt="2024-09-05T07:15:38.667" v="125" actId="47"/>
        <pc:sldMkLst>
          <pc:docMk/>
          <pc:sldMk cId="2020512657" sldId="7157"/>
        </pc:sldMkLst>
        <pc:picChg chg="del">
          <ac:chgData name="BORIS.WANG 王柏樺" userId="c5c44bbf-4402-4024-9f65-8f1484055d23" providerId="ADAL" clId="{1F5BFAC1-3C12-4F63-95C1-B5DE69193B3F}" dt="2024-09-05T07:15:35.060" v="122" actId="478"/>
          <ac:picMkLst>
            <pc:docMk/>
            <pc:sldMk cId="2020512657" sldId="7157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7:38:26.125" v="325" actId="1076"/>
        <pc:sldMkLst>
          <pc:docMk/>
          <pc:sldMk cId="800434497" sldId="7158"/>
        </pc:sldMkLst>
        <pc:spChg chg="mod">
          <ac:chgData name="BORIS.WANG 王柏樺" userId="c5c44bbf-4402-4024-9f65-8f1484055d23" providerId="ADAL" clId="{1F5BFAC1-3C12-4F63-95C1-B5DE69193B3F}" dt="2024-09-05T07:18:32.988" v="211" actId="1076"/>
          <ac:spMkLst>
            <pc:docMk/>
            <pc:sldMk cId="800434497" sldId="7158"/>
            <ac:spMk id="2" creationId="{EFA231BD-EB9C-C78A-167E-79E76FAC1D05}"/>
          </ac:spMkLst>
        </pc:spChg>
        <pc:spChg chg="del mod">
          <ac:chgData name="BORIS.WANG 王柏樺" userId="c5c44bbf-4402-4024-9f65-8f1484055d23" providerId="ADAL" clId="{1F5BFAC1-3C12-4F63-95C1-B5DE69193B3F}" dt="2024-09-05T07:38:23.336" v="323" actId="478"/>
          <ac:spMkLst>
            <pc:docMk/>
            <pc:sldMk cId="800434497" sldId="7158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26.125" v="325" actId="1076"/>
          <ac:spMkLst>
            <pc:docMk/>
            <pc:sldMk cId="800434497" sldId="7158"/>
            <ac:spMk id="10" creationId="{7EBCAEFA-1C1D-CA05-7986-FF09C26FE003}"/>
          </ac:spMkLst>
        </pc:spChg>
        <pc:picChg chg="add mod">
          <ac:chgData name="BORIS.WANG 王柏樺" userId="c5c44bbf-4402-4024-9f65-8f1484055d23" providerId="ADAL" clId="{1F5BFAC1-3C12-4F63-95C1-B5DE69193B3F}" dt="2024-09-05T07:19:15.120" v="214" actId="1076"/>
          <ac:picMkLst>
            <pc:docMk/>
            <pc:sldMk cId="800434497" sldId="7158"/>
            <ac:picMk id="8" creationId="{AEB28933-ECA0-2BD7-B1D0-C6163038BDA2}"/>
          </ac:picMkLst>
        </pc:picChg>
      </pc:sldChg>
      <pc:sldChg chg="add del">
        <pc:chgData name="BORIS.WANG 王柏樺" userId="c5c44bbf-4402-4024-9f65-8f1484055d23" providerId="ADAL" clId="{1F5BFAC1-3C12-4F63-95C1-B5DE69193B3F}" dt="2024-09-05T07:15:35.628" v="123" actId="47"/>
        <pc:sldMkLst>
          <pc:docMk/>
          <pc:sldMk cId="2223007487" sldId="7158"/>
        </pc:sldMkLst>
      </pc:sldChg>
      <pc:sldChg chg="addSp delSp modSp add mod">
        <pc:chgData name="BORIS.WANG 王柏樺" userId="c5c44bbf-4402-4024-9f65-8f1484055d23" providerId="ADAL" clId="{1F5BFAC1-3C12-4F63-95C1-B5DE69193B3F}" dt="2024-09-05T07:38:33.625" v="328" actId="1076"/>
        <pc:sldMkLst>
          <pc:docMk/>
          <pc:sldMk cId="1264986191" sldId="7159"/>
        </pc:sldMkLst>
        <pc:spChg chg="mod">
          <ac:chgData name="BORIS.WANG 王柏樺" userId="c5c44bbf-4402-4024-9f65-8f1484055d23" providerId="ADAL" clId="{1F5BFAC1-3C12-4F63-95C1-B5DE69193B3F}" dt="2024-09-05T07:19:33.857" v="248" actId="1076"/>
          <ac:spMkLst>
            <pc:docMk/>
            <pc:sldMk cId="1264986191" sldId="7159"/>
            <ac:spMk id="2" creationId="{EFA231BD-EB9C-C78A-167E-79E76FAC1D05}"/>
          </ac:spMkLst>
        </pc:spChg>
        <pc:spChg chg="del mod">
          <ac:chgData name="BORIS.WANG 王柏樺" userId="c5c44bbf-4402-4024-9f65-8f1484055d23" providerId="ADAL" clId="{1F5BFAC1-3C12-4F63-95C1-B5DE69193B3F}" dt="2024-09-05T07:38:30.831" v="326" actId="478"/>
          <ac:spMkLst>
            <pc:docMk/>
            <pc:sldMk cId="1264986191" sldId="7159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38:33.625" v="328" actId="1076"/>
          <ac:spMkLst>
            <pc:docMk/>
            <pc:sldMk cId="1264986191" sldId="7159"/>
            <ac:spMk id="10" creationId="{26370FC1-8589-E3E1-2F7C-E92E4D105ED2}"/>
          </ac:spMkLst>
        </pc:spChg>
        <pc:picChg chg="add mod">
          <ac:chgData name="BORIS.WANG 王柏樺" userId="c5c44bbf-4402-4024-9f65-8f1484055d23" providerId="ADAL" clId="{1F5BFAC1-3C12-4F63-95C1-B5DE69193B3F}" dt="2024-09-05T07:20:09.562" v="251" actId="1076"/>
          <ac:picMkLst>
            <pc:docMk/>
            <pc:sldMk cId="1264986191" sldId="7159"/>
            <ac:picMk id="8" creationId="{69982054-BA64-15F1-E507-6B9443C488B0}"/>
          </ac:picMkLst>
        </pc:picChg>
      </pc:sldChg>
      <pc:sldChg chg="delSp add del mod">
        <pc:chgData name="BORIS.WANG 王柏樺" userId="c5c44bbf-4402-4024-9f65-8f1484055d23" providerId="ADAL" clId="{1F5BFAC1-3C12-4F63-95C1-B5DE69193B3F}" dt="2024-09-05T07:15:41.404" v="126" actId="47"/>
        <pc:sldMkLst>
          <pc:docMk/>
          <pc:sldMk cId="4034770782" sldId="7159"/>
        </pc:sldMkLst>
        <pc:picChg chg="del">
          <ac:chgData name="BORIS.WANG 王柏樺" userId="c5c44bbf-4402-4024-9f65-8f1484055d23" providerId="ADAL" clId="{1F5BFAC1-3C12-4F63-95C1-B5DE69193B3F}" dt="2024-09-05T07:15:36.557" v="124" actId="478"/>
          <ac:picMkLst>
            <pc:docMk/>
            <pc:sldMk cId="4034770782" sldId="7159"/>
            <ac:picMk id="12" creationId="{02B983C9-0EB2-3724-36AA-F01D44C5E63A}"/>
          </ac:picMkLst>
        </pc:picChg>
      </pc:sldChg>
      <pc:sldChg chg="addSp delSp modSp add mod">
        <pc:chgData name="BORIS.WANG 王柏樺" userId="c5c44bbf-4402-4024-9f65-8f1484055d23" providerId="ADAL" clId="{1F5BFAC1-3C12-4F63-95C1-B5DE69193B3F}" dt="2024-09-05T09:16:02.285" v="2070" actId="207"/>
        <pc:sldMkLst>
          <pc:docMk/>
          <pc:sldMk cId="3500368902" sldId="7160"/>
        </pc:sldMkLst>
        <pc:spChg chg="mod">
          <ac:chgData name="BORIS.WANG 王柏樺" userId="c5c44bbf-4402-4024-9f65-8f1484055d23" providerId="ADAL" clId="{1F5BFAC1-3C12-4F63-95C1-B5DE69193B3F}" dt="2024-09-05T09:16:02.285" v="2070" actId="207"/>
          <ac:spMkLst>
            <pc:docMk/>
            <pc:sldMk cId="3500368902" sldId="7160"/>
            <ac:spMk id="2" creationId="{EFA231BD-EB9C-C78A-167E-79E76FAC1D05}"/>
          </ac:spMkLst>
        </pc:spChg>
        <pc:spChg chg="del">
          <ac:chgData name="BORIS.WANG 王柏樺" userId="c5c44bbf-4402-4024-9f65-8f1484055d23" providerId="ADAL" clId="{1F5BFAC1-3C12-4F63-95C1-B5DE69193B3F}" dt="2024-09-05T07:38:36.592" v="329" actId="478"/>
          <ac:spMkLst>
            <pc:docMk/>
            <pc:sldMk cId="3500368902" sldId="7160"/>
            <ac:spMk id="9" creationId="{E960D437-9CB0-4060-C373-DF89410DFA3D}"/>
          </ac:spMkLst>
        </pc:spChg>
        <pc:spChg chg="add mod">
          <ac:chgData name="BORIS.WANG 王柏樺" userId="c5c44bbf-4402-4024-9f65-8f1484055d23" providerId="ADAL" clId="{1F5BFAC1-3C12-4F63-95C1-B5DE69193B3F}" dt="2024-09-05T07:21:25.382" v="262" actId="207"/>
          <ac:spMkLst>
            <pc:docMk/>
            <pc:sldMk cId="3500368902" sldId="7160"/>
            <ac:spMk id="10" creationId="{C353FDCC-B1B3-53FC-7E70-F88454A813D9}"/>
          </ac:spMkLst>
        </pc:spChg>
        <pc:spChg chg="add mod">
          <ac:chgData name="BORIS.WANG 王柏樺" userId="c5c44bbf-4402-4024-9f65-8f1484055d23" providerId="ADAL" clId="{1F5BFAC1-3C12-4F63-95C1-B5DE69193B3F}" dt="2024-09-05T07:38:39.897" v="331" actId="1076"/>
          <ac:spMkLst>
            <pc:docMk/>
            <pc:sldMk cId="3500368902" sldId="7160"/>
            <ac:spMk id="13" creationId="{92F3D021-F154-9C83-B403-25D12E0738E4}"/>
          </ac:spMkLst>
        </pc:spChg>
        <pc:picChg chg="del">
          <ac:chgData name="BORIS.WANG 王柏樺" userId="c5c44bbf-4402-4024-9f65-8f1484055d23" providerId="ADAL" clId="{1F5BFAC1-3C12-4F63-95C1-B5DE69193B3F}" dt="2024-09-05T07:21:52.639" v="263" actId="478"/>
          <ac:picMkLst>
            <pc:docMk/>
            <pc:sldMk cId="3500368902" sldId="7160"/>
            <ac:picMk id="8" creationId="{69982054-BA64-15F1-E507-6B9443C488B0}"/>
          </ac:picMkLst>
        </pc:picChg>
        <pc:picChg chg="add mod">
          <ac:chgData name="BORIS.WANG 王柏樺" userId="c5c44bbf-4402-4024-9f65-8f1484055d23" providerId="ADAL" clId="{1F5BFAC1-3C12-4F63-95C1-B5DE69193B3F}" dt="2024-09-05T07:21:58.764" v="265" actId="1076"/>
          <ac:picMkLst>
            <pc:docMk/>
            <pc:sldMk cId="3500368902" sldId="7160"/>
            <ac:picMk id="12" creationId="{FCEDFCAB-53FD-DC9B-7DA5-AD3426440990}"/>
          </ac:picMkLst>
        </pc:picChg>
      </pc:sldChg>
    </pc:docChg>
  </pc:docChgLst>
  <pc:docChgLst>
    <pc:chgData name="BORIS.WANG 王柏樺" userId="c5c44bbf-4402-4024-9f65-8f1484055d23" providerId="ADAL" clId="{B77147C8-A572-4EDE-B70C-47D5D8D972EA}"/>
    <pc:docChg chg="undo custSel addSld delSld modSld">
      <pc:chgData name="BORIS.WANG 王柏樺" userId="c5c44bbf-4402-4024-9f65-8f1484055d23" providerId="ADAL" clId="{B77147C8-A572-4EDE-B70C-47D5D8D972EA}" dt="2024-11-01T01:48:54.520" v="780"/>
      <pc:docMkLst>
        <pc:docMk/>
      </pc:docMkLst>
      <pc:sldChg chg="modSp mod modNotesTx">
        <pc:chgData name="BORIS.WANG 王柏樺" userId="c5c44bbf-4402-4024-9f65-8f1484055d23" providerId="ADAL" clId="{B77147C8-A572-4EDE-B70C-47D5D8D972EA}" dt="2024-11-01T01:48:54.520" v="780"/>
        <pc:sldMkLst>
          <pc:docMk/>
          <pc:sldMk cId="68451804" sldId="7122"/>
        </pc:sldMkLst>
        <pc:spChg chg="mod">
          <ac:chgData name="BORIS.WANG 王柏樺" userId="c5c44bbf-4402-4024-9f65-8f1484055d23" providerId="ADAL" clId="{B77147C8-A572-4EDE-B70C-47D5D8D972EA}" dt="2024-10-31T07:42:04.632" v="36" actId="20577"/>
          <ac:spMkLst>
            <pc:docMk/>
            <pc:sldMk cId="68451804" sldId="7122"/>
            <ac:spMk id="15" creationId="{C318173E-55E3-4CBB-A7E2-33A1735C03D6}"/>
          </ac:spMkLst>
        </pc:spChg>
        <pc:spChg chg="mod">
          <ac:chgData name="BORIS.WANG 王柏樺" userId="c5c44bbf-4402-4024-9f65-8f1484055d23" providerId="ADAL" clId="{B77147C8-A572-4EDE-B70C-47D5D8D972EA}" dt="2024-10-31T07:41:58.311" v="28" actId="20577"/>
          <ac:spMkLst>
            <pc:docMk/>
            <pc:sldMk cId="68451804" sldId="7122"/>
            <ac:spMk id="17" creationId="{C318173E-55E3-4CBB-A7E2-33A1735C03D6}"/>
          </ac:spMkLst>
        </pc:spChg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3265155510" sldId="7143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1190881560" sldId="7145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2473368254" sldId="7147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1649987154" sldId="7149"/>
        </pc:sldMkLst>
      </pc:sldChg>
      <pc:sldChg chg="del">
        <pc:chgData name="BORIS.WANG 王柏樺" userId="c5c44bbf-4402-4024-9f65-8f1484055d23" providerId="ADAL" clId="{B77147C8-A572-4EDE-B70C-47D5D8D972EA}" dt="2024-10-31T07:42:10.809" v="37" actId="47"/>
        <pc:sldMkLst>
          <pc:docMk/>
          <pc:sldMk cId="4191361572" sldId="7151"/>
        </pc:sldMkLst>
      </pc:sldChg>
      <pc:sldChg chg="addSp delSp modSp mod modNotesTx">
        <pc:chgData name="BORIS.WANG 王柏樺" userId="c5c44bbf-4402-4024-9f65-8f1484055d23" providerId="ADAL" clId="{B77147C8-A572-4EDE-B70C-47D5D8D972EA}" dt="2024-11-01T01:27:38.847" v="779" actId="20577"/>
        <pc:sldMkLst>
          <pc:docMk/>
          <pc:sldMk cId="169537643" sldId="7153"/>
        </pc:sldMkLst>
        <pc:spChg chg="del">
          <ac:chgData name="BORIS.WANG 王柏樺" userId="c5c44bbf-4402-4024-9f65-8f1484055d23" providerId="ADAL" clId="{B77147C8-A572-4EDE-B70C-47D5D8D972EA}" dt="2024-10-31T07:42:45.337" v="39" actId="478"/>
          <ac:spMkLst>
            <pc:docMk/>
            <pc:sldMk cId="169537643" sldId="7153"/>
            <ac:spMk id="6" creationId="{4DC86743-D71C-4A8B-7CA1-884ABEF8B66C}"/>
          </ac:spMkLst>
        </pc:spChg>
        <pc:spChg chg="add mod">
          <ac:chgData name="BORIS.WANG 王柏樺" userId="c5c44bbf-4402-4024-9f65-8f1484055d23" providerId="ADAL" clId="{B77147C8-A572-4EDE-B70C-47D5D8D972EA}" dt="2024-10-31T07:43:42.755" v="43" actId="14100"/>
          <ac:spMkLst>
            <pc:docMk/>
            <pc:sldMk cId="169537643" sldId="7153"/>
            <ac:spMk id="8" creationId="{D6BA23FA-C1A9-3DC7-45D8-AED69E1C61E1}"/>
          </ac:spMkLst>
        </pc:spChg>
        <pc:spChg chg="add del">
          <ac:chgData name="BORIS.WANG 王柏樺" userId="c5c44bbf-4402-4024-9f65-8f1484055d23" providerId="ADAL" clId="{B77147C8-A572-4EDE-B70C-47D5D8D972EA}" dt="2024-10-31T07:43:53.547" v="45" actId="478"/>
          <ac:spMkLst>
            <pc:docMk/>
            <pc:sldMk cId="169537643" sldId="7153"/>
            <ac:spMk id="9" creationId="{7EDB8881-7979-8A54-E860-81FF827690C0}"/>
          </ac:spMkLst>
        </pc:spChg>
        <pc:spChg chg="add">
          <ac:chgData name="BORIS.WANG 王柏樺" userId="c5c44bbf-4402-4024-9f65-8f1484055d23" providerId="ADAL" clId="{B77147C8-A572-4EDE-B70C-47D5D8D972EA}" dt="2024-10-31T07:44:02.655" v="46" actId="11529"/>
          <ac:spMkLst>
            <pc:docMk/>
            <pc:sldMk cId="169537643" sldId="7153"/>
            <ac:spMk id="10" creationId="{16023779-5CAA-E68E-0650-1D2DE23DD8EE}"/>
          </ac:spMkLst>
        </pc:spChg>
        <pc:spChg chg="add mod">
          <ac:chgData name="BORIS.WANG 王柏樺" userId="c5c44bbf-4402-4024-9f65-8f1484055d23" providerId="ADAL" clId="{B77147C8-A572-4EDE-B70C-47D5D8D972EA}" dt="2024-10-31T07:44:22.708" v="69" actId="1076"/>
          <ac:spMkLst>
            <pc:docMk/>
            <pc:sldMk cId="169537643" sldId="7153"/>
            <ac:spMk id="11" creationId="{718627E7-2B0E-20D2-5A98-98292B1C78F6}"/>
          </ac:spMkLst>
        </pc:spChg>
        <pc:picChg chg="del">
          <ac:chgData name="BORIS.WANG 王柏樺" userId="c5c44bbf-4402-4024-9f65-8f1484055d23" providerId="ADAL" clId="{B77147C8-A572-4EDE-B70C-47D5D8D972EA}" dt="2024-10-31T07:42:42.564" v="38" actId="478"/>
          <ac:picMkLst>
            <pc:docMk/>
            <pc:sldMk cId="169537643" sldId="7153"/>
            <ac:picMk id="3" creationId="{E42D54C3-AEBF-C3FD-3D79-E63FB2B704E1}"/>
          </ac:picMkLst>
        </pc:picChg>
        <pc:picChg chg="add">
          <ac:chgData name="BORIS.WANG 王柏樺" userId="c5c44bbf-4402-4024-9f65-8f1484055d23" providerId="ADAL" clId="{B77147C8-A572-4EDE-B70C-47D5D8D972EA}" dt="2024-10-31T07:43:16.984" v="40" actId="22"/>
          <ac:picMkLst>
            <pc:docMk/>
            <pc:sldMk cId="169537643" sldId="7153"/>
            <ac:picMk id="7" creationId="{1643A9B7-821E-A4AE-246C-A62E39136325}"/>
          </ac:picMkLst>
        </pc:picChg>
      </pc:sldChg>
      <pc:sldChg chg="addSp delSp modSp add mod modNotesTx">
        <pc:chgData name="BORIS.WANG 王柏樺" userId="c5c44bbf-4402-4024-9f65-8f1484055d23" providerId="ADAL" clId="{B77147C8-A572-4EDE-B70C-47D5D8D972EA}" dt="2024-10-31T09:13:27.904" v="664" actId="20577"/>
        <pc:sldMkLst>
          <pc:docMk/>
          <pc:sldMk cId="416065759" sldId="7154"/>
        </pc:sldMkLst>
        <pc:spChg chg="mod">
          <ac:chgData name="BORIS.WANG 王柏樺" userId="c5c44bbf-4402-4024-9f65-8f1484055d23" providerId="ADAL" clId="{B77147C8-A572-4EDE-B70C-47D5D8D972EA}" dt="2024-10-31T07:46:22.607" v="102" actId="20577"/>
          <ac:spMkLst>
            <pc:docMk/>
            <pc:sldMk cId="416065759" sldId="7154"/>
            <ac:spMk id="5" creationId="{9E18E9E2-5C18-4DCA-A6C4-D2C2072CDB4D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8" creationId="{D6BA23FA-C1A9-3DC7-45D8-AED69E1C61E1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10" creationId="{16023779-5CAA-E68E-0650-1D2DE23DD8EE}"/>
          </ac:spMkLst>
        </pc:spChg>
        <pc:spChg chg="del">
          <ac:chgData name="BORIS.WANG 王柏樺" userId="c5c44bbf-4402-4024-9f65-8f1484055d23" providerId="ADAL" clId="{B77147C8-A572-4EDE-B70C-47D5D8D972EA}" dt="2024-10-31T07:46:26.330" v="104" actId="478"/>
          <ac:spMkLst>
            <pc:docMk/>
            <pc:sldMk cId="416065759" sldId="7154"/>
            <ac:spMk id="11" creationId="{718627E7-2B0E-20D2-5A98-98292B1C78F6}"/>
          </ac:spMkLst>
        </pc:spChg>
        <pc:spChg chg="add mod">
          <ac:chgData name="BORIS.WANG 王柏樺" userId="c5c44bbf-4402-4024-9f65-8f1484055d23" providerId="ADAL" clId="{B77147C8-A572-4EDE-B70C-47D5D8D972EA}" dt="2024-10-31T08:29:47.855" v="321" actId="12"/>
          <ac:spMkLst>
            <pc:docMk/>
            <pc:sldMk cId="416065759" sldId="7154"/>
            <ac:spMk id="12" creationId="{51ED05DD-1212-7F8E-9FBD-41884B75E886}"/>
          </ac:spMkLst>
        </pc:spChg>
        <pc:spChg chg="add del">
          <ac:chgData name="BORIS.WANG 王柏樺" userId="c5c44bbf-4402-4024-9f65-8f1484055d23" providerId="ADAL" clId="{B77147C8-A572-4EDE-B70C-47D5D8D972EA}" dt="2024-10-31T09:09:22.564" v="572" actId="22"/>
          <ac:spMkLst>
            <pc:docMk/>
            <pc:sldMk cId="416065759" sldId="7154"/>
            <ac:spMk id="18" creationId="{BB6BB639-C640-F0D0-DE55-F362AF55263B}"/>
          </ac:spMkLst>
        </pc:spChg>
        <pc:graphicFrameChg chg="add mod">
          <ac:chgData name="BORIS.WANG 王柏樺" userId="c5c44bbf-4402-4024-9f65-8f1484055d23" providerId="ADAL" clId="{B77147C8-A572-4EDE-B70C-47D5D8D972EA}" dt="2024-10-31T07:49:39.683" v="105"/>
          <ac:graphicFrameMkLst>
            <pc:docMk/>
            <pc:sldMk cId="416065759" sldId="7154"/>
            <ac:graphicFrameMk id="2" creationId="{692B1F23-5EDF-CA5D-9206-887F32B7EF50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49:51.888" v="322" actId="14100"/>
          <ac:graphicFrameMkLst>
            <pc:docMk/>
            <pc:sldMk cId="416065759" sldId="7154"/>
            <ac:graphicFrameMk id="3" creationId="{5092592B-E4A8-40C2-7243-20E2F2E9162B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7:54:24.359" v="111"/>
          <ac:graphicFrameMkLst>
            <pc:docMk/>
            <pc:sldMk cId="416065759" sldId="7154"/>
            <ac:graphicFrameMk id="6" creationId="{DF2ADA83-6EBF-AFD1-C337-8D2D8904E388}"/>
          </ac:graphicFrameMkLst>
        </pc:graphicFrameChg>
        <pc:graphicFrameChg chg="add del mod">
          <ac:chgData name="BORIS.WANG 王柏樺" userId="c5c44bbf-4402-4024-9f65-8f1484055d23" providerId="ADAL" clId="{B77147C8-A572-4EDE-B70C-47D5D8D972EA}" dt="2024-10-31T08:01:11.219" v="298" actId="478"/>
          <ac:graphicFrameMkLst>
            <pc:docMk/>
            <pc:sldMk cId="416065759" sldId="7154"/>
            <ac:graphicFrameMk id="9" creationId="{1EE921D6-B35E-8C79-CF14-E28F998638CC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02:15.755" v="299"/>
          <ac:graphicFrameMkLst>
            <pc:docMk/>
            <pc:sldMk cId="416065759" sldId="7154"/>
            <ac:graphicFrameMk id="13" creationId="{97FFAA16-CF08-D0B9-0373-5294C959FFCF}"/>
          </ac:graphicFrameMkLst>
        </pc:graphicFrameChg>
        <pc:graphicFrameChg chg="add del mod">
          <ac:chgData name="BORIS.WANG 王柏樺" userId="c5c44bbf-4402-4024-9f65-8f1484055d23" providerId="ADAL" clId="{B77147C8-A572-4EDE-B70C-47D5D8D972EA}" dt="2024-10-31T08:28:48.375" v="311" actId="478"/>
          <ac:graphicFrameMkLst>
            <pc:docMk/>
            <pc:sldMk cId="416065759" sldId="7154"/>
            <ac:graphicFrameMk id="14" creationId="{6397626C-9387-D368-5F5A-813F005D981C}"/>
          </ac:graphicFrameMkLst>
        </pc:graphicFrameChg>
        <pc:graphicFrameChg chg="add mod">
          <ac:chgData name="BORIS.WANG 王柏樺" userId="c5c44bbf-4402-4024-9f65-8f1484055d23" providerId="ADAL" clId="{B77147C8-A572-4EDE-B70C-47D5D8D972EA}" dt="2024-10-31T08:29:10.441" v="312"/>
          <ac:graphicFrameMkLst>
            <pc:docMk/>
            <pc:sldMk cId="416065759" sldId="7154"/>
            <ac:graphicFrameMk id="15" creationId="{3C30CA2A-F223-E38A-3DFA-13565F9F420F}"/>
          </ac:graphicFrameMkLst>
        </pc:graphicFrameChg>
        <pc:graphicFrameChg chg="add mod modGraphic">
          <ac:chgData name="BORIS.WANG 王柏樺" userId="c5c44bbf-4402-4024-9f65-8f1484055d23" providerId="ADAL" clId="{B77147C8-A572-4EDE-B70C-47D5D8D972EA}" dt="2024-10-31T08:49:56.861" v="323" actId="1076"/>
          <ac:graphicFrameMkLst>
            <pc:docMk/>
            <pc:sldMk cId="416065759" sldId="7154"/>
            <ac:graphicFrameMk id="16" creationId="{8A07862A-37D5-405D-0E73-7CD04B26B8D6}"/>
          </ac:graphicFrameMkLst>
        </pc:graphicFrameChg>
        <pc:picChg chg="del">
          <ac:chgData name="BORIS.WANG 王柏樺" userId="c5c44bbf-4402-4024-9f65-8f1484055d23" providerId="ADAL" clId="{B77147C8-A572-4EDE-B70C-47D5D8D972EA}" dt="2024-10-31T07:46:24.825" v="103" actId="478"/>
          <ac:picMkLst>
            <pc:docMk/>
            <pc:sldMk cId="416065759" sldId="7154"/>
            <ac:picMk id="7" creationId="{1643A9B7-821E-A4AE-246C-A62E39136325}"/>
          </ac:picMkLst>
        </pc:picChg>
      </pc:sldChg>
      <pc:sldChg chg="add del">
        <pc:chgData name="BORIS.WANG 王柏樺" userId="c5c44bbf-4402-4024-9f65-8f1484055d23" providerId="ADAL" clId="{B77147C8-A572-4EDE-B70C-47D5D8D972EA}" dt="2024-10-31T07:44:57.669" v="71" actId="47"/>
        <pc:sldMkLst>
          <pc:docMk/>
          <pc:sldMk cId="1244531494" sldId="715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3F557AE0-3881-4A1A-8C06-7F646E380F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867FF1F-93FA-4556-9877-77DCFD472B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DE458F-95AA-4541-9474-D54778833CFE}" type="datetimeFigureOut">
              <a:rPr lang="zh-CN" altLang="en-US" smtClean="0"/>
              <a:t>2024/11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16D2B50-A532-4764-B822-5825736C4D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B9E7780-F740-46EB-AAFE-B368DC1D2C4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5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32B29E-FEB4-4426-8D1D-A0F3B6F00A6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30581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9493A5-0BC8-4910-926E-84CE259841B9}" type="datetimeFigureOut">
              <a:rPr lang="zh-TW" altLang="en-US" smtClean="0"/>
              <a:t>2024/11/25</a:t>
            </a:fld>
            <a:endParaRPr lang="zh-TW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TW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301309-D25C-43AE-A839-D191775D969C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65568200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08CED3F-FD9B-4458-B5B2-295386A1D2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93601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13577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TW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879639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TW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028238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8291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4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5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6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6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70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slideMaster" Target="../slideMasters/slideMaster20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8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8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42940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7792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12918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65054411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25708517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028803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97963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3000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4723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0326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271198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77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81796AAA-F22B-4AC7-93EC-B5EEBFD6A3C0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3679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4129026683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7731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071644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3162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7240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2639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40270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02250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02265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80765342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960870428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27768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5968829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14586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64690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94328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71647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669377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10499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815153813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9728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64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722132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70" y="6515100"/>
            <a:ext cx="61993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1" lang="zh-TW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itchFamily="18" charset="-120"/>
                <a:cs typeface="Arial" panose="020B0604020202020204" pitchFamily="34" charset="0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TW" altLang="en-US" sz="13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itchFamily="18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82414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32965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871275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95865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0939789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9356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700129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41801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3996758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7F2213C6-5855-45DA-90EF-09A4DE48A92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221538"/>
      </p:ext>
    </p:extLst>
  </p:cSld>
  <p:clrMapOvr>
    <a:masterClrMapping/>
  </p:clrMapOvr>
  <p:transition spd="slow">
    <p:push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157283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94899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14643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6379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73522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3131195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66507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54682716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E6A90-AB66-4B6F-A729-42BB37C4153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54821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字方塊 10"/>
          <p:cNvSpPr txBox="1">
            <a:spLocks noChangeArrowheads="1"/>
          </p:cNvSpPr>
          <p:nvPr userDrawn="1"/>
        </p:nvSpPr>
        <p:spPr bwMode="auto">
          <a:xfrm>
            <a:off x="316523" y="6569101"/>
            <a:ext cx="2207847" cy="244475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000">
                <a:solidFill>
                  <a:srgbClr val="4D4D4D"/>
                </a:solidFill>
              </a:rPr>
              <a:t>Delta Confidential</a:t>
            </a:r>
            <a:endParaRPr kumimoji="0" lang="zh-TW" altLang="en-US" sz="1000">
              <a:solidFill>
                <a:srgbClr val="4D4D4D"/>
              </a:solidFill>
            </a:endParaRPr>
          </a:p>
        </p:txBody>
      </p:sp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>
              <a:defRPr/>
            </a:pPr>
            <a:fld id="{C1D3EB17-1F06-40C1-821C-D621265FB114}" type="slidenum">
              <a:rPr lang="zh-TW" altLang="en-US" sz="1200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zh-TW" altLang="en-US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50483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76735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4150405"/>
      </p:ext>
    </p:extLst>
  </p:cSld>
  <p:clrMapOvr>
    <a:masterClrMapping/>
  </p:clrMapOvr>
  <p:transition spd="slow">
    <p:push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-Title_After-Sale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50B021-1F69-471D-B922-F43DD15F1B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8617"/>
          <a:stretch/>
        </p:blipFill>
        <p:spPr>
          <a:xfrm>
            <a:off x="0" y="1042229"/>
            <a:ext cx="12192000" cy="2744169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8554943"/>
              </p:ext>
            </p:extLst>
          </p:nvPr>
        </p:nvGraphicFramePr>
        <p:xfrm>
          <a:off x="0" y="0"/>
          <a:ext cx="194760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60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C9B3DE-AF43-44FC-ACDE-FD882EEB8B1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4760" cy="15915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7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873842-9478-43C7-9528-F63EA1A58773}"/>
              </a:ext>
            </a:extLst>
          </p:cNvPr>
          <p:cNvSpPr/>
          <p:nvPr userDrawn="1"/>
        </p:nvSpPr>
        <p:spPr bwMode="auto">
          <a:xfrm>
            <a:off x="0" y="2930235"/>
            <a:ext cx="12192000" cy="3450285"/>
          </a:xfrm>
          <a:prstGeom prst="rect">
            <a:avLst/>
          </a:prstGeom>
          <a:solidFill>
            <a:schemeClr val="bg1">
              <a:alpha val="84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/>
            <a:endParaRPr lang="x-none" sz="1404" b="1" err="1">
              <a:solidFill>
                <a:schemeClr val="bg1"/>
              </a:solidFill>
            </a:endParaRPr>
          </a:p>
        </p:txBody>
      </p:sp>
      <p:sp>
        <p:nvSpPr>
          <p:cNvPr id="12" name="Line 686"/>
          <p:cNvSpPr>
            <a:spLocks noChangeShapeType="1"/>
          </p:cNvSpPr>
          <p:nvPr/>
        </p:nvSpPr>
        <p:spPr bwMode="auto">
          <a:xfrm>
            <a:off x="0" y="2925273"/>
            <a:ext cx="121920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en-US" sz="90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1661" y="3214254"/>
            <a:ext cx="11306531" cy="429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2807" b="1" dirty="0">
                <a:solidFill>
                  <a:srgbClr val="0087DC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1660" y="4642559"/>
            <a:ext cx="11306531" cy="293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defRPr lang="en-US" sz="2005">
                <a:solidFill>
                  <a:srgbClr val="0087D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6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5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33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91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50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8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66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55215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5" y="634178"/>
            <a:ext cx="9292685" cy="3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8660558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DEC294-AB36-41C2-B7C1-6C9C4E4DF788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40943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8210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827463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5580639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441133-D0C0-4E95-B47B-2A2B897DA0BE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149117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376773488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633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68821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75672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9" y="947563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2600">
                <a:solidFill>
                  <a:srgbClr val="FFC000"/>
                </a:solidFill>
              </a:defRPr>
            </a:lvl1pPr>
            <a:lvl2pPr marL="495226" indent="0">
              <a:buNone/>
              <a:defRPr/>
            </a:lvl2pPr>
            <a:lvl3pPr marL="990454" indent="0">
              <a:buNone/>
              <a:defRPr/>
            </a:lvl3pPr>
            <a:lvl4pPr marL="1485680" indent="0">
              <a:buNone/>
              <a:defRPr/>
            </a:lvl4pPr>
            <a:lvl5pPr marL="1980906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11616029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365127"/>
            <a:ext cx="12191999" cy="615951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" y="1825625"/>
            <a:ext cx="7488936" cy="4351339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08976" y="1825625"/>
            <a:ext cx="4160520" cy="4351339"/>
          </a:xfrm>
        </p:spPr>
        <p:txBody>
          <a:bodyPr>
            <a:normAutofit/>
          </a:bodyPr>
          <a:lstStyle>
            <a:lvl1pPr>
              <a:defRPr sz="1625"/>
            </a:lvl1pPr>
            <a:lvl2pPr>
              <a:defRPr sz="1463"/>
            </a:lvl2pPr>
            <a:lvl3pPr>
              <a:defRPr sz="1300"/>
            </a:lvl3pPr>
            <a:lvl4pPr>
              <a:defRPr sz="1137"/>
            </a:lvl4pPr>
            <a:lvl5pPr>
              <a:defRPr sz="1137"/>
            </a:lvl5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E9C4BC32-7D61-41BE-9C02-6E2926EC8D72}" type="slidenum">
              <a:rPr kumimoji="1" lang="zh-TW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zh-TW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20865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6" y="2130441"/>
            <a:ext cx="10362907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1" y="3886200"/>
            <a:ext cx="853381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47" indent="0" algn="ctr">
              <a:buNone/>
              <a:defRPr/>
            </a:lvl2pPr>
            <a:lvl3pPr marL="914496" indent="0" algn="ctr">
              <a:buNone/>
              <a:defRPr/>
            </a:lvl3pPr>
            <a:lvl4pPr marL="1371743" indent="0" algn="ctr">
              <a:buNone/>
              <a:defRPr/>
            </a:lvl4pPr>
            <a:lvl5pPr marL="1828990" indent="0" algn="ctr">
              <a:buNone/>
              <a:defRPr/>
            </a:lvl5pPr>
            <a:lvl6pPr marL="2286238" indent="0" algn="ctr">
              <a:buNone/>
              <a:defRPr/>
            </a:lvl6pPr>
            <a:lvl7pPr marL="2743485" indent="0" algn="ctr">
              <a:buNone/>
              <a:defRPr/>
            </a:lvl7pPr>
            <a:lvl8pPr marL="3200732" indent="0" algn="ctr">
              <a:buNone/>
              <a:defRPr/>
            </a:lvl8pPr>
            <a:lvl9pPr marL="3657979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1350690598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58489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9" y="947563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2600">
                <a:solidFill>
                  <a:srgbClr val="FFC000"/>
                </a:solidFill>
              </a:defRPr>
            </a:lvl1pPr>
            <a:lvl2pPr marL="495226" indent="0">
              <a:buNone/>
              <a:defRPr/>
            </a:lvl2pPr>
            <a:lvl3pPr marL="990454" indent="0">
              <a:buNone/>
              <a:defRPr/>
            </a:lvl3pPr>
            <a:lvl4pPr marL="1485680" indent="0">
              <a:buNone/>
              <a:defRPr/>
            </a:lvl4pPr>
            <a:lvl5pPr marL="1980906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4827119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F2D24BA-D360-46E2-B08C-D4189467F723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2131158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365127"/>
            <a:ext cx="12191999" cy="615951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4592" y="1825625"/>
            <a:ext cx="7488936" cy="4351339"/>
          </a:xfrm>
        </p:spPr>
        <p:txBody>
          <a:bodyPr/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08976" y="1825625"/>
            <a:ext cx="4160520" cy="4351339"/>
          </a:xfrm>
        </p:spPr>
        <p:txBody>
          <a:bodyPr>
            <a:normAutofit/>
          </a:bodyPr>
          <a:lstStyle>
            <a:lvl1pPr>
              <a:defRPr sz="1625"/>
            </a:lvl1pPr>
            <a:lvl2pPr>
              <a:defRPr sz="1463"/>
            </a:lvl2pPr>
            <a:lvl3pPr>
              <a:defRPr sz="1300"/>
            </a:lvl3pPr>
            <a:lvl4pPr>
              <a:defRPr sz="1137"/>
            </a:lvl4pPr>
            <a:lvl5pPr>
              <a:defRPr sz="1137"/>
            </a:lvl5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kumimoji="1" lang="zh-TW" alt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E9C4BC32-7D61-41BE-9C02-6E2926EC8D72}" type="slidenum">
              <a:rPr kumimoji="1" lang="zh-TW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zh-TW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50989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6" y="2130441"/>
            <a:ext cx="10362907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1" y="3886200"/>
            <a:ext cx="853381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47" indent="0" algn="ctr">
              <a:buNone/>
              <a:defRPr/>
            </a:lvl2pPr>
            <a:lvl3pPr marL="914496" indent="0" algn="ctr">
              <a:buNone/>
              <a:defRPr/>
            </a:lvl3pPr>
            <a:lvl4pPr marL="1371743" indent="0" algn="ctr">
              <a:buNone/>
              <a:defRPr/>
            </a:lvl4pPr>
            <a:lvl5pPr marL="1828990" indent="0" algn="ctr">
              <a:buNone/>
              <a:defRPr/>
            </a:lvl5pPr>
            <a:lvl6pPr marL="2286238" indent="0" algn="ctr">
              <a:buNone/>
              <a:defRPr/>
            </a:lvl6pPr>
            <a:lvl7pPr marL="2743485" indent="0" algn="ctr">
              <a:buNone/>
              <a:defRPr/>
            </a:lvl7pPr>
            <a:lvl8pPr marL="3200732" indent="0" algn="ctr">
              <a:buNone/>
              <a:defRPr/>
            </a:lvl8pPr>
            <a:lvl9pPr marL="3657979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3224772541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4481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2813560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51261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85518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9691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339244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73586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97990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51429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226113810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6123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文字方塊 10"/>
          <p:cNvSpPr txBox="1">
            <a:spLocks noChangeArrowheads="1"/>
          </p:cNvSpPr>
          <p:nvPr userDrawn="1"/>
        </p:nvSpPr>
        <p:spPr bwMode="auto">
          <a:xfrm>
            <a:off x="316523" y="6569101"/>
            <a:ext cx="2207847" cy="244475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0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charset="-120"/>
                <a:cs typeface="+mn-cs"/>
              </a:rPr>
              <a:t>Delta Confidential</a:t>
            </a:r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charset="-120"/>
              <a:cs typeface="+mn-cs"/>
            </a:endParaRPr>
          </a:p>
        </p:txBody>
      </p:sp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D3EB17-1F06-40C1-821C-D621265FB114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13172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56200993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9700064"/>
      </p:ext>
    </p:extLst>
  </p:cSld>
  <p:clrMapOvr>
    <a:masterClrMapping/>
  </p:clrMapOvr>
  <p:transition spd="slow">
    <p:push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67556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8863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3662191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28526862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137068927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559042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207181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137987672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60264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32533841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05215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6457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9176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706C6E85-CCF9-4EA1-82A2-E6E8D3D941A5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3947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>
            <a:extLst>
              <a:ext uri="{FF2B5EF4-FFF2-40B4-BE49-F238E27FC236}">
                <a16:creationId xmlns:a16="http://schemas.microsoft.com/office/drawing/2014/main" id="{486623DC-2764-4E53-9469-62A9E0C1A474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278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BD6A0668-1C1B-4065-B588-6826EC3E97A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6829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878113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0764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3817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5228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22730852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0723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0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1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ct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3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9458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180168" y="1270000"/>
            <a:ext cx="9173633" cy="48873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18716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48963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972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8072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1" y="6532731"/>
            <a:ext cx="1219200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1" lang="en-US" altLang="zh-CN" sz="108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zh-CN" altLang="en-US" sz="108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628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512044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36065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7587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21540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0437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810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916383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6948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091656362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98806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34062837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642255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4338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TW" alt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2931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195906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883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3967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5380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6901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 dirty="0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79740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115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96847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404554328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6002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90605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9D269185-5973-46E7-A764-7A1E7040CBE3}" type="slidenum">
              <a:rPr lang="en-US" altLang="zh-CN" sz="1333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zh-CN" altLang="en-US" sz="1333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6647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2674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800" b="1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350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2660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9094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092434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en-US" dirty="0">
                <a:latin typeface="Arai"/>
              </a:defRPr>
            </a:lvl1pPr>
          </a:lstStyle>
          <a:p>
            <a:pPr lvl="0"/>
            <a:r>
              <a:rPr lang="zh-TW" altLang="en-US" dirty="0"/>
              <a:t>按一下以編輯母片標題樣式</a:t>
            </a:r>
            <a:endParaRPr lang="en-US" dirty="0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1431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320789001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39147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198094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1796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10972800" y="6532731"/>
            <a:ext cx="12192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269185-5973-46E7-A764-7A1E7040CBE3}" type="slidenum">
              <a:rPr kumimoji="0" lang="en-US" altLang="zh-CN" sz="13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333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0057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2371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45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4754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0737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1717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58C1-F2D8-4172-8808-AB419E37623E}" type="slidenum">
              <a:rPr kumimoji="0" lang="en-US" altLang="x-none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10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10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A0BB7-265A-403C-9275-D587AB510EDC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9324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397741494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E6A90-AB66-4B6F-A729-42BB37C4153E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8016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8460409"/>
      </p:ext>
    </p:extLst>
  </p:cSld>
  <p:clrMapOvr>
    <a:masterClrMapping/>
  </p:clrMapOvr>
  <p:transition spd="slow">
    <p:push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18867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BED703-8112-4F8C-95AA-8E2AEC701FBD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7105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阿里巴巴普惠体 R" panose="00020600040101010101" pitchFamily="18" charset="-122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BC47A4-756D-490B-A52F-7D9E2C9FC05F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2828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484727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800" b="1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D24BA-D360-46E2-B08C-D4189467F723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1406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E70B2-8BF9-45C0-BB95-33D1B9D3A854}" type="slidenum">
              <a:rPr kumimoji="0" lang="zh-CN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阿里巴巴普惠体 R" panose="00020600040101010101" pitchFamily="18" charset="-122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21674581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68310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58680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C27D9-08DD-4244-B30C-4F4732CFE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>
                <a:solidFill>
                  <a:srgbClr val="00B0F0"/>
                </a:solidFill>
              </a:defRPr>
            </a:lvl1pPr>
          </a:lstStyle>
          <a:p>
            <a:r>
              <a:rPr lang="de-DE"/>
              <a:t>Title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F63DE8-FC1D-4BA9-8895-35C954FC48A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1660" y="1177280"/>
            <a:ext cx="11462095" cy="1347903"/>
          </a:xfrm>
        </p:spPr>
        <p:txBody>
          <a:bodyPr/>
          <a:lstStyle>
            <a:lvl1pPr>
              <a:buClr>
                <a:srgbClr val="92D050"/>
              </a:buClr>
              <a:defRPr/>
            </a:lvl1pPr>
            <a:lvl2pPr>
              <a:defRPr lang="en-US" sz="1604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77259" indent="-229194">
              <a:buClr>
                <a:srgbClr val="EE915E"/>
              </a:buClr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marL="744882" lvl="1" indent="-286493" algn="l" rtl="0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87DC"/>
              </a:buClr>
              <a:buFont typeface="Wingdings" panose="05000000000000000000" pitchFamily="2" charset="2"/>
              <a:buChar char="ü"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71E213-6128-4A60-8A6E-39E87F6799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661" y="738912"/>
            <a:ext cx="11313203" cy="15428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marL="0" indent="0" algn="l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003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6777" rtl="0" eaLnBrk="1" latinLnBrk="0" hangingPunct="1">
              <a:lnSpc>
                <a:spcPct val="100000"/>
              </a:lnSpc>
              <a:spcBef>
                <a:spcPct val="0"/>
              </a:spcBef>
              <a:buFontTx/>
              <a:buNone/>
              <a:defRPr lang="en-US" sz="1805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Breadcrumb</a:t>
            </a:r>
          </a:p>
        </p:txBody>
      </p:sp>
    </p:spTree>
    <p:extLst>
      <p:ext uri="{BB962C8B-B14F-4D97-AF65-F5344CB8AC3E}">
        <p14:creationId xmlns:p14="http://schemas.microsoft.com/office/powerpoint/2010/main" val="28869452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555" y="3291900"/>
            <a:ext cx="10362907" cy="308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9102" y="3886200"/>
            <a:ext cx="8533814" cy="234507"/>
          </a:xfrm>
        </p:spPr>
        <p:txBody>
          <a:bodyPr/>
          <a:lstStyle>
            <a:lvl1pPr marL="0" indent="0" algn="ctr">
              <a:buNone/>
              <a:defRPr/>
            </a:lvl1pPr>
            <a:lvl2pPr marL="457243" indent="0" algn="ctr">
              <a:buNone/>
              <a:defRPr/>
            </a:lvl2pPr>
            <a:lvl3pPr marL="914485" indent="0" algn="ctr">
              <a:buNone/>
              <a:defRPr/>
            </a:lvl3pPr>
            <a:lvl4pPr marL="1371728" indent="0" algn="ctr">
              <a:buNone/>
              <a:defRPr/>
            </a:lvl4pPr>
            <a:lvl5pPr marL="1828971" indent="0" algn="ctr">
              <a:buNone/>
              <a:defRPr/>
            </a:lvl5pPr>
            <a:lvl6pPr marL="2286214" indent="0" algn="ctr">
              <a:buNone/>
              <a:defRPr/>
            </a:lvl6pPr>
            <a:lvl7pPr marL="2743456" indent="0" algn="ctr">
              <a:buNone/>
              <a:defRPr/>
            </a:lvl7pPr>
            <a:lvl8pPr marL="3200699" indent="0" algn="ctr">
              <a:buNone/>
              <a:defRPr/>
            </a:lvl8pPr>
            <a:lvl9pPr marL="3657942" indent="0" algn="ctr">
              <a:buNone/>
              <a:defRPr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9348699" y="6467476"/>
            <a:ext cx="2843302" cy="365125"/>
          </a:xfr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15B26-F7FC-433D-9F7D-5BF35B55F266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753975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6350306" y="224217"/>
            <a:ext cx="5643668" cy="586316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 sz="2667"/>
              <a:t>CLICK</a:t>
            </a:r>
            <a:r>
              <a:rPr kumimoji="1" lang="zh-CN" altLang="en-US" sz="2667"/>
              <a:t> </a:t>
            </a:r>
            <a:r>
              <a:rPr kumimoji="1" lang="en-US" altLang="zh-CN" sz="2667"/>
              <a:t>HERE</a:t>
            </a:r>
            <a:r>
              <a:rPr kumimoji="1" lang="zh-CN" altLang="en-US" sz="2667"/>
              <a:t> </a:t>
            </a:r>
            <a:r>
              <a:rPr kumimoji="1" lang="en-US" altLang="zh-CN" sz="2667"/>
              <a:t>TO</a:t>
            </a:r>
            <a:r>
              <a:rPr kumimoji="1" lang="zh-CN" altLang="en-US" sz="2667"/>
              <a:t> </a:t>
            </a:r>
            <a:r>
              <a:rPr kumimoji="1" lang="en-US" altLang="zh-CN" sz="2667"/>
              <a:t>ADD</a:t>
            </a:r>
            <a:r>
              <a:rPr kumimoji="1" lang="zh-CN" altLang="en-US" sz="2667"/>
              <a:t> </a:t>
            </a:r>
            <a:r>
              <a:rPr kumimoji="1" lang="en-US" altLang="zh-CN" sz="2667"/>
              <a:t>YOUR</a:t>
            </a:r>
            <a:r>
              <a:rPr kumimoji="1" lang="zh-CN" altLang="en-US" sz="2667"/>
              <a:t> </a:t>
            </a:r>
            <a:r>
              <a:rPr kumimoji="1" lang="en-US" altLang="zh-CN" sz="2667"/>
              <a:t>TITLE</a:t>
            </a:r>
            <a:endParaRPr kumimoji="1" lang="zh-CN" altLang="en-US"/>
          </a:p>
        </p:txBody>
      </p:sp>
      <p:sp>
        <p:nvSpPr>
          <p:cNvPr id="11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203202" y="6094894"/>
            <a:ext cx="678787" cy="586316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kumimoji="1" lang="en-US" altLang="zh-CN"/>
              <a:t>01</a:t>
            </a:r>
            <a:endParaRPr kumimoji="1" lang="zh-CN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CEC686-01C9-4A0E-B839-06BC14CC5DD1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6491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1"/>
          </p:nvPr>
        </p:nvSpPr>
        <p:spPr>
          <a:xfrm>
            <a:off x="325088" y="1322917"/>
            <a:ext cx="3710157" cy="493818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267201" y="1322918"/>
            <a:ext cx="7086600" cy="49381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79524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4"/>
          <p:cNvSpPr>
            <a:spLocks noGrp="1"/>
          </p:cNvSpPr>
          <p:nvPr>
            <p:ph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279670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236B886-9F28-44D5-80E6-9A6B11B1A4EA}"/>
              </a:ext>
            </a:extLst>
          </p:cNvPr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3539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2444" y="354896"/>
            <a:ext cx="9466440" cy="593371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898217" y="947562"/>
            <a:ext cx="4910667" cy="542572"/>
          </a:xfrm>
          <a:prstGeom prst="rect">
            <a:avLst/>
          </a:prstGeo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rgbClr val="FFC000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Second line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059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zh-TW" altLang="en-US" dirty="0"/>
            </a:lvl1pPr>
          </a:lstStyle>
          <a:p>
            <a:pPr lvl="0"/>
            <a:r>
              <a:rPr lang="zh-TW" altLang="en-US" dirty="0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92E36-C23C-4451-AB1D-FE4F995BD3DF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6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9207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342444" y="354896"/>
            <a:ext cx="9466440" cy="740128"/>
          </a:xfrm>
          <a:prstGeom prst="rect">
            <a:avLst/>
          </a:prstGeom>
        </p:spPr>
        <p:txBody>
          <a:bodyPr/>
          <a:lstStyle>
            <a:lvl1pPr algn="r">
              <a:defRPr sz="3733" b="0" i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6422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4" y="366184"/>
            <a:ext cx="9292685" cy="84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572069" y="6515100"/>
            <a:ext cx="61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192E36-C23C-4451-AB1D-FE4F995BD3DF}" type="slidenum">
              <a:rPr lang="zh-TW" altLang="en-US" sz="1600" smtClean="0">
                <a:solidFill>
                  <a:srgbClr val="505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zh-TW" altLang="en-US" sz="1600">
              <a:solidFill>
                <a:srgbClr val="50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4400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180169" y="1301751"/>
            <a:ext cx="9173633" cy="5094816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61EF61-A9C3-439B-9ACC-EF14E8FDF19D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679063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6" name="Rectangle 4"/>
          <p:cNvSpPr>
            <a:spLocks noGrp="1"/>
          </p:cNvSpPr>
          <p:nvPr>
            <p:ph type="sldNum" sz="quarter" idx="10"/>
          </p:nvPr>
        </p:nvSpPr>
        <p:spPr bwMode="auto">
          <a:xfrm>
            <a:off x="-2133600" y="6534150"/>
            <a:ext cx="2844800" cy="47625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>
            <a:lvl1pPr>
              <a:defRPr kern="0">
                <a:solidFill>
                  <a:schemeClr val="bg1">
                    <a:alpha val="100000"/>
                  </a:scheme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E70F58C1-F2D8-4172-8808-AB419E37623E}" type="slidenum">
              <a:rPr lang="en-US" altLang="x-none">
                <a:solidFill>
                  <a:srgbClr val="FFFFFF">
                    <a:alpha val="10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alpha val="100000"/>
                </a:srgbClr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0598383" y="6407161"/>
            <a:ext cx="2843301" cy="365125"/>
          </a:xfrm>
          <a:ln/>
        </p:spPr>
        <p:txBody>
          <a:bodyPr/>
          <a:lstStyle>
            <a:lvl1pPr>
              <a:defRPr/>
            </a:lvl1pPr>
          </a:lstStyle>
          <a:p>
            <a:fld id="{73DA0BB7-265A-403C-9275-D587AB510EDC}" type="slidenum">
              <a:rPr lang="zh-TW" alt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zh-TW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9321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10" y="4"/>
            <a:ext cx="12188092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標題 1"/>
          <p:cNvSpPr>
            <a:spLocks noGrp="1"/>
          </p:cNvSpPr>
          <p:nvPr>
            <p:ph type="ctrTitle"/>
          </p:nvPr>
        </p:nvSpPr>
        <p:spPr>
          <a:xfrm>
            <a:off x="914403" y="764704"/>
            <a:ext cx="6141707" cy="4032448"/>
          </a:xfrm>
        </p:spPr>
        <p:txBody>
          <a:bodyPr>
            <a:noAutofit/>
          </a:bodyPr>
          <a:lstStyle>
            <a:lvl1pPr algn="l">
              <a:defRPr sz="3600" baseline="0">
                <a:solidFill>
                  <a:srgbClr val="0087DC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341148109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E6A90-AB66-4B6F-A729-42BB37C4153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403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85" y="333381"/>
            <a:ext cx="1860062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82754" y="1988840"/>
            <a:ext cx="8685272" cy="3888432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58" y="404664"/>
            <a:ext cx="8596647" cy="1224136"/>
          </a:xfrm>
        </p:spPr>
        <p:txBody>
          <a:bodyPr>
            <a:noAutofit/>
          </a:bodyPr>
          <a:lstStyle>
            <a:lvl1pPr algn="l">
              <a:defRPr sz="3200" baseline="0">
                <a:solidFill>
                  <a:srgbClr val="0087D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投影片編號版面配置區 5"/>
          <p:cNvSpPr txBox="1">
            <a:spLocks/>
          </p:cNvSpPr>
          <p:nvPr userDrawn="1"/>
        </p:nvSpPr>
        <p:spPr>
          <a:xfrm>
            <a:off x="4848270" y="6448451"/>
            <a:ext cx="28433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kumimoji="0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pitchFamily="18" charset="-120"/>
                <a:cs typeface="+mn-cs"/>
              </a:defRPr>
            </a:lvl9pPr>
          </a:lstStyle>
          <a:p>
            <a:pPr>
              <a:defRPr/>
            </a:pPr>
            <a:fld id="{C1D3EB17-1F06-40C1-821C-D621265FB114}" type="slidenum">
              <a:rPr lang="zh-TW" altLang="en-US" sz="1200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zh-TW" altLang="en-US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034490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4" y="228617"/>
            <a:ext cx="11151917" cy="6093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6644790"/>
      </p:ext>
    </p:extLst>
  </p:cSld>
  <p:clrMapOvr>
    <a:masterClrMapping/>
  </p:clrMapOvr>
  <p:transition spd="slow">
    <p:push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版面配置區 1"/>
          <p:cNvSpPr>
            <a:spLocks noGrp="1"/>
          </p:cNvSpPr>
          <p:nvPr>
            <p:ph type="title"/>
          </p:nvPr>
        </p:nvSpPr>
        <p:spPr>
          <a:xfrm>
            <a:off x="2639485" y="634178"/>
            <a:ext cx="9292685" cy="30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772803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>
          <a:xfrm>
            <a:off x="383118" y="1261533"/>
            <a:ext cx="11425767" cy="5268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515739" y="6515100"/>
            <a:ext cx="628760" cy="306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D24BA-D360-46E2-B08C-D4189467F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7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07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16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25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Relationship Id="rId9" Type="http://schemas.openxmlformats.org/officeDocument/2006/relationships/image" Target="../media/image2.jpe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42.xml"/><Relationship Id="rId21" Type="http://schemas.openxmlformats.org/officeDocument/2006/relationships/theme" Target="../theme/theme15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image" Target="../media/image2.jpe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image" Target="../media/image2.jpe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63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7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theme" Target="../theme/theme20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60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Cover_16 9_hand_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0"/>
            <a:ext cx="6093884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9231" y="366185"/>
            <a:ext cx="52578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59232" y="5238428"/>
            <a:ext cx="5257800" cy="938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Name:</a:t>
            </a:r>
          </a:p>
          <a:p>
            <a:pPr lvl="0"/>
            <a:r>
              <a:rPr lang="en-US" altLang="zh-TW"/>
              <a:t>Date: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1229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67" b="1" kern="1200">
          <a:solidFill>
            <a:srgbClr val="0086D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585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9170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8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54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8339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01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90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5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6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71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90362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5" r:id="rId6"/>
    <p:sldLayoutId id="2147483926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574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</p:sldLayoutIdLst>
  <p:hf sldNum="0" hdr="0" ftr="0" dt="0"/>
  <p:txStyles>
    <p:titleStyle>
      <a:lvl1pPr algn="ctr" defTabSz="609524" rtl="0" eaLnBrk="1" latinLnBrk="0" hangingPunct="1"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43" indent="-457143" algn="l" defTabSz="609524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76" indent="-380952" algn="l" defTabSz="609524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810" indent="-304762" algn="l" defTabSz="60952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34" indent="-304762" algn="l" defTabSz="609524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857" indent="-304762" algn="l" defTabSz="609524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9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04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9" r:id="rId16"/>
    <p:sldLayoutId id="2147483950" r:id="rId17"/>
    <p:sldLayoutId id="2147483951" r:id="rId18"/>
    <p:sldLayoutId id="2147483952" r:id="rId19"/>
    <p:sldLayoutId id="2147483953" r:id="rId20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79643"/>
            <a:ext cx="2207684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75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975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9" y="347625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8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10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  <p:pic>
        <p:nvPicPr>
          <p:cNvPr id="7" name="圖片 4">
            <a:extLst>
              <a:ext uri="{FF2B5EF4-FFF2-40B4-BE49-F238E27FC236}">
                <a16:creationId xmlns:a16="http://schemas.microsoft.com/office/drawing/2014/main" id="{6D80EA96-6688-41C6-91DF-D9012B2D7A4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0114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49522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990454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485680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198090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371420" indent="-371420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4743" indent="-309516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1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38068" indent="-247614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195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33294" indent="-247614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28520" indent="-24761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2374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8974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200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42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2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454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68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090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13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6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587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181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79643"/>
            <a:ext cx="2207684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75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975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2" y="421639"/>
            <a:ext cx="1822449" cy="444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9" y="347625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8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10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50651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49522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990454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485680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1980906" algn="ctr" rtl="0" fontAlgn="base">
        <a:spcBef>
          <a:spcPct val="0"/>
        </a:spcBef>
        <a:spcAft>
          <a:spcPct val="0"/>
        </a:spcAft>
        <a:defRPr sz="4765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371420" indent="-371420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4743" indent="-309516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1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38068" indent="-247614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195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33294" indent="-247614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28520" indent="-24761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2374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8974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200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427" indent="-247614" algn="l" defTabSz="9904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2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454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68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0906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13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60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587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1813" algn="l" defTabSz="990454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22D48B0-BFA5-4362-8535-A177B1CA9C7F}" type="slidenum">
              <a:rPr kumimoji="1"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新細明體" pitchFamily="18" charset="-12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en-US">
              <a:solidFill>
                <a:prstClr val="black">
                  <a:tint val="75000"/>
                </a:prstClr>
              </a:solidFill>
              <a:latin typeface="Arial" charset="0"/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695446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2" descr="back_16 9_han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68" y="0"/>
            <a:ext cx="5044017" cy="6860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5734051"/>
            <a:ext cx="6432549" cy="768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To learn more about Delta</a:t>
            </a:r>
          </a:p>
          <a:p>
            <a:pPr lvl="0"/>
            <a:r>
              <a:rPr lang="en-US" altLang="zh-TW"/>
              <a:t>please visit www.deltaww.com</a:t>
            </a:r>
          </a:p>
        </p:txBody>
      </p:sp>
      <p:sp>
        <p:nvSpPr>
          <p:cNvPr id="3076" name="Rectangle 2"/>
          <p:cNvSpPr txBox="1">
            <a:spLocks/>
          </p:cNvSpPr>
          <p:nvPr userDrawn="1"/>
        </p:nvSpPr>
        <p:spPr bwMode="auto">
          <a:xfrm>
            <a:off x="412752" y="548218"/>
            <a:ext cx="8832849" cy="1441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4800" b="0" i="0" u="none" strike="noStrike" kern="1200" cap="none" spc="0" normalizeH="0" baseline="0" noProof="0">
                <a:ln>
                  <a:noFill/>
                </a:ln>
                <a:solidFill>
                  <a:srgbClr val="0087DC"/>
                </a:solidFill>
                <a:effectLst/>
                <a:uLnTx/>
                <a:uFillTx/>
                <a:latin typeface="Arial" charset="0"/>
                <a:ea typeface="微軟正黑體" pitchFamily="34" charset="-120"/>
                <a:cs typeface="Arial" charset="0"/>
              </a:rPr>
              <a:t>Smarter. Greener. Together.</a:t>
            </a:r>
          </a:p>
        </p:txBody>
      </p:sp>
    </p:spTree>
    <p:extLst>
      <p:ext uri="{BB962C8B-B14F-4D97-AF65-F5344CB8AC3E}">
        <p14:creationId xmlns:p14="http://schemas.microsoft.com/office/powerpoint/2010/main" val="38074954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5pPr>
      <a:lvl6pPr marL="609585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6pPr>
      <a:lvl7pPr marL="1219170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7pPr>
      <a:lvl8pPr marL="1828754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8pPr>
      <a:lvl9pPr marL="2438339" algn="l" rtl="0" fontAlgn="base">
        <a:spcBef>
          <a:spcPct val="0"/>
        </a:spcBef>
        <a:spcAft>
          <a:spcPct val="0"/>
        </a:spcAft>
        <a:defRPr kumimoji="1" sz="4800">
          <a:solidFill>
            <a:srgbClr val="0087DC"/>
          </a:solidFill>
          <a:latin typeface="Arial" charset="0"/>
          <a:ea typeface="微軟正黑體" pitchFamily="34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defRPr kumimoji="1" sz="1867">
          <a:solidFill>
            <a:srgbClr val="0087DC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har char="–"/>
        <a:defRPr kumimoji="1" sz="3733">
          <a:solidFill>
            <a:schemeClr val="tx1"/>
          </a:solidFill>
          <a:latin typeface="+mn-lt"/>
          <a:ea typeface="+mn-ea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kumimoji="1" sz="2667">
          <a:solidFill>
            <a:schemeClr val="tx1"/>
          </a:solidFill>
          <a:latin typeface="+mn-lt"/>
          <a:ea typeface="+mn-ea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kumimoji="1" sz="26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86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3" r:id="rId18"/>
    <p:sldLayoutId id="2147483684" r:id="rId19"/>
    <p:sldLayoutId id="2147483685" r:id="rId20"/>
    <p:sldLayoutId id="2147483686" r:id="rId2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783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  <p:sldLayoutId id="2147483988" r:id="rId16"/>
    <p:sldLayoutId id="2147483989" r:id="rId17"/>
    <p:sldLayoutId id="2147483990" r:id="rId18"/>
    <p:sldLayoutId id="2147483992" r:id="rId19"/>
    <p:sldLayoutId id="2147483993" r:id="rId20"/>
    <p:sldLayoutId id="2147483994" r:id="rId21"/>
    <p:sldLayoutId id="2147483995" r:id="rId22"/>
    <p:sldLayoutId id="2147483996" r:id="rId2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 dirty="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 dirty="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17753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85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</p:sldLayoutIdLst>
  <p:hf hdr="0" ftr="0" dt="0"/>
  <p:txStyles>
    <p:titleStyle>
      <a:lvl1pPr algn="ctr" defTabSz="609524" rtl="0" eaLnBrk="1" latinLnBrk="0" hangingPunct="1"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43" indent="-457143" algn="l" defTabSz="609524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76" indent="-380952" algn="l" defTabSz="609524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810" indent="-304762" algn="l" defTabSz="60952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34" indent="-304762" algn="l" defTabSz="609524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857" indent="-304762" algn="l" defTabSz="609524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381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9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2" indent="-304762" algn="l" defTabSz="60952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1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5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0" algn="l" defTabSz="6095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1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新細明體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748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49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4006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271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215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4" r:id="rId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新細明體" pitchFamily="18" charset="-120"/>
                <a:cs typeface="Arial" charset="0"/>
              </a:rPr>
              <a:t>Delta Confidential</a:t>
            </a: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 charset="0"/>
              <a:ea typeface="新細明體" pitchFamily="18" charset="-120"/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 dirty="0"/>
              <a:t>Click to edit Master title style</a:t>
            </a:r>
            <a:endParaRPr lang="zh-TW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2D48B0-BFA5-4362-8535-A177B1CA9C7F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69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7" r:id="rId18"/>
    <p:sldLayoutId id="2147483758" r:id="rId19"/>
    <p:sldLayoutId id="2147483759" r:id="rId20"/>
    <p:sldLayoutId id="2147483760" r:id="rId21"/>
    <p:sldLayoutId id="2147483761" r:id="rId2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字方塊 10"/>
          <p:cNvSpPr txBox="1">
            <a:spLocks noChangeArrowheads="1"/>
          </p:cNvSpPr>
          <p:nvPr userDrawn="1"/>
        </p:nvSpPr>
        <p:spPr bwMode="auto">
          <a:xfrm>
            <a:off x="228601" y="6545019"/>
            <a:ext cx="22076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defRPr/>
            </a:pPr>
            <a:r>
              <a:rPr kumimoji="0" lang="en-US" altLang="zh-TW" sz="1200">
                <a:solidFill>
                  <a:srgbClr val="4D4D4D"/>
                </a:solidFill>
                <a:cs typeface="Arial" charset="0"/>
              </a:rPr>
              <a:t>Delta Confidential</a:t>
            </a:r>
            <a:endParaRPr kumimoji="0" lang="zh-TW" altLang="en-US" sz="120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1" name="圖片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8" y="366185"/>
            <a:ext cx="1822449" cy="56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0168" y="347624"/>
            <a:ext cx="9173633" cy="686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0166" y="1373204"/>
            <a:ext cx="9173633" cy="480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44187" y="6332009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2D48B0-BFA5-4362-8535-A177B1CA9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39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6" r:id="rId1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 kern="1200">
          <a:solidFill>
            <a:srgbClr val="0087D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  <a:ea typeface="新細明體" pitchFamily="18" charset="-12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92D050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87DC"/>
        </a:buClr>
        <a:buFont typeface="Wingdings" panose="05000000000000000000" pitchFamily="2" charset="2"/>
        <a:buChar char="ü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lr>
          <a:srgbClr val="00AEEF"/>
        </a:buClr>
        <a:buFont typeface="Arial" charset="0"/>
        <a:buChar char="–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5">
            <a:extLst>
              <a:ext uri="{FF2B5EF4-FFF2-40B4-BE49-F238E27FC236}">
                <a16:creationId xmlns:a16="http://schemas.microsoft.com/office/drawing/2014/main" id="{51787677-E784-4F84-A540-7AE16B7B57F7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70906" y="3157855"/>
            <a:ext cx="5648960" cy="0"/>
          </a:xfrm>
          <a:prstGeom prst="line">
            <a:avLst/>
          </a:prstGeom>
          <a:noFill/>
          <a:ln w="12700">
            <a:solidFill>
              <a:srgbClr val="3C7388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椭圆 22">
            <a:extLst>
              <a:ext uri="{FF2B5EF4-FFF2-40B4-BE49-F238E27FC236}">
                <a16:creationId xmlns:a16="http://schemas.microsoft.com/office/drawing/2014/main" id="{1D796D8D-1904-4131-8043-DE779C94FB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4566" y="3672840"/>
            <a:ext cx="52832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59">
            <a:extLst>
              <a:ext uri="{FF2B5EF4-FFF2-40B4-BE49-F238E27FC236}">
                <a16:creationId xmlns:a16="http://schemas.microsoft.com/office/drawing/2014/main" id="{110D900E-986F-4C75-ADC8-53E20FFC68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2041" y="3783965"/>
            <a:ext cx="293370" cy="306705"/>
          </a:xfrm>
          <a:custGeom>
            <a:avLst/>
            <a:gdLst>
              <a:gd name="T0" fmla="*/ 73627430 w 581"/>
              <a:gd name="T1" fmla="*/ 67678707 h 609"/>
              <a:gd name="T2" fmla="*/ 61659637 w 581"/>
              <a:gd name="T3" fmla="*/ 78678142 h 609"/>
              <a:gd name="T4" fmla="*/ 54244957 w 581"/>
              <a:gd name="T5" fmla="*/ 72208055 h 609"/>
              <a:gd name="T6" fmla="*/ 57106883 w 581"/>
              <a:gd name="T7" fmla="*/ 65867111 h 609"/>
              <a:gd name="T8" fmla="*/ 61659637 w 581"/>
              <a:gd name="T9" fmla="*/ 69490662 h 609"/>
              <a:gd name="T10" fmla="*/ 71806401 w 581"/>
              <a:gd name="T11" fmla="*/ 61338122 h 609"/>
              <a:gd name="T12" fmla="*/ 73627430 w 581"/>
              <a:gd name="T13" fmla="*/ 67678707 h 609"/>
              <a:gd name="T14" fmla="*/ 61659637 w 581"/>
              <a:gd name="T15" fmla="*/ 64055516 h 609"/>
              <a:gd name="T16" fmla="*/ 49691843 w 581"/>
              <a:gd name="T17" fmla="*/ 69490662 h 609"/>
              <a:gd name="T18" fmla="*/ 51513233 w 581"/>
              <a:gd name="T19" fmla="*/ 75054951 h 609"/>
              <a:gd name="T20" fmla="*/ 3772261 w 581"/>
              <a:gd name="T21" fmla="*/ 78678142 h 609"/>
              <a:gd name="T22" fmla="*/ 0 w 581"/>
              <a:gd name="T23" fmla="*/ 10999436 h 609"/>
              <a:gd name="T24" fmla="*/ 10146404 w 581"/>
              <a:gd name="T25" fmla="*/ 7246742 h 609"/>
              <a:gd name="T26" fmla="*/ 17561444 w 581"/>
              <a:gd name="T27" fmla="*/ 18246178 h 609"/>
              <a:gd name="T28" fmla="*/ 24845922 w 581"/>
              <a:gd name="T29" fmla="*/ 7246742 h 609"/>
              <a:gd name="T30" fmla="*/ 28488341 w 581"/>
              <a:gd name="T31" fmla="*/ 10999436 h 609"/>
              <a:gd name="T32" fmla="*/ 43318061 w 581"/>
              <a:gd name="T33" fmla="*/ 10999436 h 609"/>
              <a:gd name="T34" fmla="*/ 46960119 w 581"/>
              <a:gd name="T35" fmla="*/ 7246742 h 609"/>
              <a:gd name="T36" fmla="*/ 54244957 w 581"/>
              <a:gd name="T37" fmla="*/ 18246178 h 609"/>
              <a:gd name="T38" fmla="*/ 61659637 w 581"/>
              <a:gd name="T39" fmla="*/ 7246742 h 609"/>
              <a:gd name="T40" fmla="*/ 71806401 w 581"/>
              <a:gd name="T41" fmla="*/ 10999436 h 609"/>
              <a:gd name="T42" fmla="*/ 66212751 w 581"/>
              <a:gd name="T43" fmla="*/ 59526167 h 609"/>
              <a:gd name="T44" fmla="*/ 10146404 w 581"/>
              <a:gd name="T45" fmla="*/ 63149718 h 609"/>
              <a:gd name="T46" fmla="*/ 12878128 w 581"/>
              <a:gd name="T47" fmla="*/ 65867111 h 609"/>
              <a:gd name="T48" fmla="*/ 39545439 w 581"/>
              <a:gd name="T49" fmla="*/ 63149718 h 609"/>
              <a:gd name="T50" fmla="*/ 39545439 w 581"/>
              <a:gd name="T51" fmla="*/ 63149718 h 609"/>
              <a:gd name="T52" fmla="*/ 39545439 w 581"/>
              <a:gd name="T53" fmla="*/ 63149718 h 609"/>
              <a:gd name="T54" fmla="*/ 12878128 w 581"/>
              <a:gd name="T55" fmla="*/ 60431965 h 609"/>
              <a:gd name="T56" fmla="*/ 58017218 w 581"/>
              <a:gd name="T57" fmla="*/ 28339815 h 609"/>
              <a:gd name="T58" fmla="*/ 13788823 w 581"/>
              <a:gd name="T59" fmla="*/ 28339815 h 609"/>
              <a:gd name="T60" fmla="*/ 13788823 w 581"/>
              <a:gd name="T61" fmla="*/ 35715700 h 609"/>
              <a:gd name="T62" fmla="*/ 61659637 w 581"/>
              <a:gd name="T63" fmla="*/ 31963007 h 609"/>
              <a:gd name="T64" fmla="*/ 58017218 w 581"/>
              <a:gd name="T65" fmla="*/ 43868240 h 609"/>
              <a:gd name="T66" fmla="*/ 35903020 w 581"/>
              <a:gd name="T67" fmla="*/ 43868240 h 609"/>
              <a:gd name="T68" fmla="*/ 13788823 w 581"/>
              <a:gd name="T69" fmla="*/ 43868240 h 609"/>
              <a:gd name="T70" fmla="*/ 13788823 w 581"/>
              <a:gd name="T71" fmla="*/ 51244484 h 609"/>
              <a:gd name="T72" fmla="*/ 35903020 w 581"/>
              <a:gd name="T73" fmla="*/ 51244484 h 609"/>
              <a:gd name="T74" fmla="*/ 61659637 w 581"/>
              <a:gd name="T75" fmla="*/ 47491791 h 609"/>
              <a:gd name="T76" fmla="*/ 54244957 w 581"/>
              <a:gd name="T77" fmla="*/ 14622627 h 609"/>
              <a:gd name="T78" fmla="*/ 50602538 w 581"/>
              <a:gd name="T79" fmla="*/ 10999436 h 609"/>
              <a:gd name="T80" fmla="*/ 54244957 w 581"/>
              <a:gd name="T81" fmla="*/ 0 h 609"/>
              <a:gd name="T82" fmla="*/ 58017218 w 581"/>
              <a:gd name="T83" fmla="*/ 10999436 h 609"/>
              <a:gd name="T84" fmla="*/ 35903020 w 581"/>
              <a:gd name="T85" fmla="*/ 14622627 h 609"/>
              <a:gd name="T86" fmla="*/ 32260601 w 581"/>
              <a:gd name="T87" fmla="*/ 10999436 h 609"/>
              <a:gd name="T88" fmla="*/ 35903020 w 581"/>
              <a:gd name="T89" fmla="*/ 0 h 609"/>
              <a:gd name="T90" fmla="*/ 39545439 w 581"/>
              <a:gd name="T91" fmla="*/ 10999436 h 609"/>
              <a:gd name="T92" fmla="*/ 17561444 w 581"/>
              <a:gd name="T93" fmla="*/ 14622627 h 609"/>
              <a:gd name="T94" fmla="*/ 13788823 w 581"/>
              <a:gd name="T95" fmla="*/ 10999436 h 609"/>
              <a:gd name="T96" fmla="*/ 17561444 w 581"/>
              <a:gd name="T97" fmla="*/ 0 h 609"/>
              <a:gd name="T98" fmla="*/ 21203502 w 581"/>
              <a:gd name="T99" fmla="*/ 10999436 h 60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81" h="609">
                <a:moveTo>
                  <a:pt x="566" y="523"/>
                </a:moveTo>
                <a:lnTo>
                  <a:pt x="566" y="523"/>
                </a:lnTo>
                <a:cubicBezTo>
                  <a:pt x="495" y="594"/>
                  <a:pt x="495" y="594"/>
                  <a:pt x="495" y="594"/>
                </a:cubicBezTo>
                <a:cubicBezTo>
                  <a:pt x="488" y="601"/>
                  <a:pt x="481" y="608"/>
                  <a:pt x="474" y="608"/>
                </a:cubicBezTo>
                <a:cubicBezTo>
                  <a:pt x="467" y="608"/>
                  <a:pt x="460" y="601"/>
                  <a:pt x="453" y="594"/>
                </a:cubicBezTo>
                <a:cubicBezTo>
                  <a:pt x="417" y="558"/>
                  <a:pt x="417" y="558"/>
                  <a:pt x="417" y="558"/>
                </a:cubicBezTo>
                <a:cubicBezTo>
                  <a:pt x="410" y="551"/>
                  <a:pt x="410" y="544"/>
                  <a:pt x="410" y="537"/>
                </a:cubicBezTo>
                <a:cubicBezTo>
                  <a:pt x="410" y="523"/>
                  <a:pt x="417" y="509"/>
                  <a:pt x="439" y="509"/>
                </a:cubicBezTo>
                <a:cubicBezTo>
                  <a:pt x="446" y="509"/>
                  <a:pt x="453" y="516"/>
                  <a:pt x="453" y="523"/>
                </a:cubicBezTo>
                <a:cubicBezTo>
                  <a:pt x="474" y="537"/>
                  <a:pt x="474" y="537"/>
                  <a:pt x="474" y="537"/>
                </a:cubicBezTo>
                <a:cubicBezTo>
                  <a:pt x="530" y="481"/>
                  <a:pt x="530" y="481"/>
                  <a:pt x="530" y="481"/>
                </a:cubicBezTo>
                <a:cubicBezTo>
                  <a:pt x="537" y="474"/>
                  <a:pt x="545" y="474"/>
                  <a:pt x="552" y="474"/>
                </a:cubicBezTo>
                <a:cubicBezTo>
                  <a:pt x="566" y="474"/>
                  <a:pt x="580" y="488"/>
                  <a:pt x="580" y="502"/>
                </a:cubicBezTo>
                <a:cubicBezTo>
                  <a:pt x="580" y="509"/>
                  <a:pt x="573" y="516"/>
                  <a:pt x="566" y="523"/>
                </a:cubicBezTo>
                <a:close/>
                <a:moveTo>
                  <a:pt x="474" y="495"/>
                </a:moveTo>
                <a:lnTo>
                  <a:pt x="474" y="495"/>
                </a:lnTo>
                <a:cubicBezTo>
                  <a:pt x="467" y="488"/>
                  <a:pt x="453" y="481"/>
                  <a:pt x="439" y="481"/>
                </a:cubicBezTo>
                <a:cubicBezTo>
                  <a:pt x="403" y="481"/>
                  <a:pt x="382" y="509"/>
                  <a:pt x="382" y="537"/>
                </a:cubicBezTo>
                <a:cubicBezTo>
                  <a:pt x="382" y="558"/>
                  <a:pt x="389" y="573"/>
                  <a:pt x="396" y="580"/>
                </a:cubicBezTo>
                <a:cubicBezTo>
                  <a:pt x="424" y="608"/>
                  <a:pt x="424" y="608"/>
                  <a:pt x="424" y="608"/>
                </a:cubicBezTo>
                <a:cubicBezTo>
                  <a:pt x="29" y="608"/>
                  <a:pt x="29" y="608"/>
                  <a:pt x="29" y="608"/>
                </a:cubicBezTo>
                <a:cubicBezTo>
                  <a:pt x="15" y="608"/>
                  <a:pt x="0" y="594"/>
                  <a:pt x="0" y="580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71"/>
                  <a:pt x="15" y="56"/>
                  <a:pt x="29" y="56"/>
                </a:cubicBezTo>
                <a:cubicBezTo>
                  <a:pt x="78" y="56"/>
                  <a:pt x="78" y="56"/>
                  <a:pt x="78" y="56"/>
                </a:cubicBezTo>
                <a:cubicBezTo>
                  <a:pt x="78" y="85"/>
                  <a:pt x="78" y="85"/>
                  <a:pt x="78" y="85"/>
                </a:cubicBezTo>
                <a:cubicBezTo>
                  <a:pt x="78" y="120"/>
                  <a:pt x="106" y="141"/>
                  <a:pt x="135" y="141"/>
                </a:cubicBezTo>
                <a:cubicBezTo>
                  <a:pt x="163" y="141"/>
                  <a:pt x="191" y="120"/>
                  <a:pt x="191" y="85"/>
                </a:cubicBezTo>
                <a:cubicBezTo>
                  <a:pt x="191" y="56"/>
                  <a:pt x="191" y="56"/>
                  <a:pt x="191" y="56"/>
                </a:cubicBezTo>
                <a:cubicBezTo>
                  <a:pt x="219" y="56"/>
                  <a:pt x="219" y="56"/>
                  <a:pt x="219" y="56"/>
                </a:cubicBezTo>
                <a:cubicBezTo>
                  <a:pt x="219" y="85"/>
                  <a:pt x="219" y="85"/>
                  <a:pt x="219" y="85"/>
                </a:cubicBezTo>
                <a:cubicBezTo>
                  <a:pt x="219" y="120"/>
                  <a:pt x="248" y="141"/>
                  <a:pt x="276" y="141"/>
                </a:cubicBezTo>
                <a:cubicBezTo>
                  <a:pt x="304" y="141"/>
                  <a:pt x="333" y="120"/>
                  <a:pt x="333" y="85"/>
                </a:cubicBezTo>
                <a:cubicBezTo>
                  <a:pt x="333" y="56"/>
                  <a:pt x="333" y="56"/>
                  <a:pt x="333" y="56"/>
                </a:cubicBezTo>
                <a:cubicBezTo>
                  <a:pt x="361" y="56"/>
                  <a:pt x="361" y="56"/>
                  <a:pt x="361" y="56"/>
                </a:cubicBezTo>
                <a:cubicBezTo>
                  <a:pt x="361" y="85"/>
                  <a:pt x="361" y="85"/>
                  <a:pt x="361" y="85"/>
                </a:cubicBezTo>
                <a:cubicBezTo>
                  <a:pt x="361" y="120"/>
                  <a:pt x="389" y="141"/>
                  <a:pt x="417" y="141"/>
                </a:cubicBezTo>
                <a:cubicBezTo>
                  <a:pt x="446" y="141"/>
                  <a:pt x="474" y="120"/>
                  <a:pt x="474" y="85"/>
                </a:cubicBezTo>
                <a:cubicBezTo>
                  <a:pt x="474" y="56"/>
                  <a:pt x="474" y="56"/>
                  <a:pt x="474" y="56"/>
                </a:cubicBezTo>
                <a:cubicBezTo>
                  <a:pt x="523" y="56"/>
                  <a:pt x="523" y="56"/>
                  <a:pt x="523" y="56"/>
                </a:cubicBezTo>
                <a:cubicBezTo>
                  <a:pt x="537" y="56"/>
                  <a:pt x="552" y="71"/>
                  <a:pt x="552" y="85"/>
                </a:cubicBezTo>
                <a:cubicBezTo>
                  <a:pt x="552" y="445"/>
                  <a:pt x="552" y="445"/>
                  <a:pt x="552" y="445"/>
                </a:cubicBezTo>
                <a:cubicBezTo>
                  <a:pt x="530" y="445"/>
                  <a:pt x="516" y="452"/>
                  <a:pt x="509" y="460"/>
                </a:cubicBezTo>
                <a:lnTo>
                  <a:pt x="474" y="495"/>
                </a:lnTo>
                <a:close/>
                <a:moveTo>
                  <a:pt x="78" y="488"/>
                </a:moveTo>
                <a:lnTo>
                  <a:pt x="78" y="488"/>
                </a:lnTo>
                <a:cubicBezTo>
                  <a:pt x="78" y="502"/>
                  <a:pt x="85" y="509"/>
                  <a:pt x="99" y="509"/>
                </a:cubicBezTo>
                <a:cubicBezTo>
                  <a:pt x="283" y="509"/>
                  <a:pt x="283" y="509"/>
                  <a:pt x="283" y="509"/>
                </a:cubicBezTo>
                <a:cubicBezTo>
                  <a:pt x="297" y="509"/>
                  <a:pt x="304" y="502"/>
                  <a:pt x="304" y="488"/>
                </a:cubicBezTo>
                <a:cubicBezTo>
                  <a:pt x="304" y="474"/>
                  <a:pt x="297" y="467"/>
                  <a:pt x="283" y="467"/>
                </a:cubicBezTo>
                <a:cubicBezTo>
                  <a:pt x="99" y="467"/>
                  <a:pt x="99" y="467"/>
                  <a:pt x="99" y="467"/>
                </a:cubicBezTo>
                <a:cubicBezTo>
                  <a:pt x="85" y="467"/>
                  <a:pt x="78" y="474"/>
                  <a:pt x="78" y="488"/>
                </a:cubicBezTo>
                <a:close/>
                <a:moveTo>
                  <a:pt x="446" y="219"/>
                </a:moveTo>
                <a:lnTo>
                  <a:pt x="446" y="219"/>
                </a:lnTo>
                <a:cubicBezTo>
                  <a:pt x="106" y="219"/>
                  <a:pt x="106" y="219"/>
                  <a:pt x="106" y="219"/>
                </a:cubicBezTo>
                <a:cubicBezTo>
                  <a:pt x="92" y="219"/>
                  <a:pt x="78" y="233"/>
                  <a:pt x="78" y="247"/>
                </a:cubicBezTo>
                <a:cubicBezTo>
                  <a:pt x="78" y="262"/>
                  <a:pt x="92" y="276"/>
                  <a:pt x="106" y="276"/>
                </a:cubicBezTo>
                <a:cubicBezTo>
                  <a:pt x="446" y="276"/>
                  <a:pt x="446" y="276"/>
                  <a:pt x="446" y="276"/>
                </a:cubicBezTo>
                <a:cubicBezTo>
                  <a:pt x="460" y="276"/>
                  <a:pt x="474" y="262"/>
                  <a:pt x="474" y="247"/>
                </a:cubicBezTo>
                <a:cubicBezTo>
                  <a:pt x="474" y="233"/>
                  <a:pt x="460" y="219"/>
                  <a:pt x="446" y="219"/>
                </a:cubicBezTo>
                <a:close/>
                <a:moveTo>
                  <a:pt x="446" y="339"/>
                </a:moveTo>
                <a:lnTo>
                  <a:pt x="446" y="339"/>
                </a:lnTo>
                <a:cubicBezTo>
                  <a:pt x="276" y="339"/>
                  <a:pt x="276" y="339"/>
                  <a:pt x="276" y="339"/>
                </a:cubicBezTo>
                <a:cubicBezTo>
                  <a:pt x="226" y="339"/>
                  <a:pt x="226" y="339"/>
                  <a:pt x="226" y="339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92" y="339"/>
                  <a:pt x="78" y="353"/>
                  <a:pt x="78" y="367"/>
                </a:cubicBezTo>
                <a:cubicBezTo>
                  <a:pt x="78" y="389"/>
                  <a:pt x="92" y="396"/>
                  <a:pt x="106" y="396"/>
                </a:cubicBezTo>
                <a:cubicBezTo>
                  <a:pt x="226" y="396"/>
                  <a:pt x="226" y="396"/>
                  <a:pt x="226" y="396"/>
                </a:cubicBezTo>
                <a:cubicBezTo>
                  <a:pt x="276" y="396"/>
                  <a:pt x="276" y="396"/>
                  <a:pt x="276" y="396"/>
                </a:cubicBezTo>
                <a:cubicBezTo>
                  <a:pt x="446" y="396"/>
                  <a:pt x="446" y="396"/>
                  <a:pt x="446" y="396"/>
                </a:cubicBezTo>
                <a:cubicBezTo>
                  <a:pt x="460" y="396"/>
                  <a:pt x="474" y="389"/>
                  <a:pt x="474" y="367"/>
                </a:cubicBezTo>
                <a:cubicBezTo>
                  <a:pt x="474" y="353"/>
                  <a:pt x="460" y="339"/>
                  <a:pt x="446" y="339"/>
                </a:cubicBezTo>
                <a:close/>
                <a:moveTo>
                  <a:pt x="417" y="113"/>
                </a:moveTo>
                <a:lnTo>
                  <a:pt x="417" y="113"/>
                </a:lnTo>
                <a:cubicBezTo>
                  <a:pt x="403" y="113"/>
                  <a:pt x="389" y="106"/>
                  <a:pt x="389" y="85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4"/>
                  <a:pt x="403" y="0"/>
                  <a:pt x="417" y="0"/>
                </a:cubicBezTo>
                <a:cubicBezTo>
                  <a:pt x="431" y="0"/>
                  <a:pt x="446" y="14"/>
                  <a:pt x="446" y="28"/>
                </a:cubicBezTo>
                <a:cubicBezTo>
                  <a:pt x="446" y="85"/>
                  <a:pt x="446" y="85"/>
                  <a:pt x="446" y="85"/>
                </a:cubicBezTo>
                <a:cubicBezTo>
                  <a:pt x="446" y="106"/>
                  <a:pt x="431" y="113"/>
                  <a:pt x="417" y="113"/>
                </a:cubicBezTo>
                <a:close/>
                <a:moveTo>
                  <a:pt x="276" y="113"/>
                </a:moveTo>
                <a:lnTo>
                  <a:pt x="276" y="113"/>
                </a:lnTo>
                <a:cubicBezTo>
                  <a:pt x="262" y="113"/>
                  <a:pt x="248" y="106"/>
                  <a:pt x="248" y="85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8" y="14"/>
                  <a:pt x="262" y="0"/>
                  <a:pt x="276" y="0"/>
                </a:cubicBezTo>
                <a:cubicBezTo>
                  <a:pt x="290" y="0"/>
                  <a:pt x="304" y="14"/>
                  <a:pt x="304" y="28"/>
                </a:cubicBezTo>
                <a:cubicBezTo>
                  <a:pt x="304" y="85"/>
                  <a:pt x="304" y="85"/>
                  <a:pt x="304" y="85"/>
                </a:cubicBezTo>
                <a:cubicBezTo>
                  <a:pt x="304" y="106"/>
                  <a:pt x="290" y="113"/>
                  <a:pt x="276" y="113"/>
                </a:cubicBezTo>
                <a:close/>
                <a:moveTo>
                  <a:pt x="135" y="113"/>
                </a:moveTo>
                <a:lnTo>
                  <a:pt x="135" y="113"/>
                </a:lnTo>
                <a:cubicBezTo>
                  <a:pt x="121" y="113"/>
                  <a:pt x="106" y="106"/>
                  <a:pt x="106" y="85"/>
                </a:cubicBezTo>
                <a:cubicBezTo>
                  <a:pt x="106" y="28"/>
                  <a:pt x="106" y="28"/>
                  <a:pt x="106" y="28"/>
                </a:cubicBezTo>
                <a:cubicBezTo>
                  <a:pt x="106" y="14"/>
                  <a:pt x="121" y="0"/>
                  <a:pt x="135" y="0"/>
                </a:cubicBezTo>
                <a:cubicBezTo>
                  <a:pt x="149" y="0"/>
                  <a:pt x="163" y="14"/>
                  <a:pt x="163" y="28"/>
                </a:cubicBezTo>
                <a:cubicBezTo>
                  <a:pt x="163" y="85"/>
                  <a:pt x="163" y="85"/>
                  <a:pt x="163" y="85"/>
                </a:cubicBezTo>
                <a:cubicBezTo>
                  <a:pt x="163" y="106"/>
                  <a:pt x="149" y="113"/>
                  <a:pt x="135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9" name="椭圆 65">
            <a:extLst>
              <a:ext uri="{FF2B5EF4-FFF2-40B4-BE49-F238E27FC236}">
                <a16:creationId xmlns:a16="http://schemas.microsoft.com/office/drawing/2014/main" id="{906FDB65-88A0-4204-B7F0-938BF3909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8426" y="3673475"/>
            <a:ext cx="528320" cy="52832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Freeform 110">
            <a:extLst>
              <a:ext uri="{FF2B5EF4-FFF2-40B4-BE49-F238E27FC236}">
                <a16:creationId xmlns:a16="http://schemas.microsoft.com/office/drawing/2014/main" id="{9592B899-57C2-40F3-80EC-5601D308E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4156" y="3785235"/>
            <a:ext cx="306705" cy="304165"/>
          </a:xfrm>
          <a:custGeom>
            <a:avLst/>
            <a:gdLst>
              <a:gd name="T0" fmla="*/ 78678142 w 609"/>
              <a:gd name="T1" fmla="*/ 71002280 h 602"/>
              <a:gd name="T2" fmla="*/ 78678142 w 609"/>
              <a:gd name="T3" fmla="*/ 71002280 h 602"/>
              <a:gd name="T4" fmla="*/ 71302258 w 609"/>
              <a:gd name="T5" fmla="*/ 78441997 h 602"/>
              <a:gd name="T6" fmla="*/ 65867111 w 609"/>
              <a:gd name="T7" fmla="*/ 76614673 h 602"/>
              <a:gd name="T8" fmla="*/ 44774038 w 609"/>
              <a:gd name="T9" fmla="*/ 54426302 h 602"/>
              <a:gd name="T10" fmla="*/ 29245613 w 609"/>
              <a:gd name="T11" fmla="*/ 59125033 h 602"/>
              <a:gd name="T12" fmla="*/ 0 w 609"/>
              <a:gd name="T13" fmla="*/ 29497307 h 602"/>
              <a:gd name="T14" fmla="*/ 29245613 w 609"/>
              <a:gd name="T15" fmla="*/ 0 h 602"/>
              <a:gd name="T16" fmla="*/ 58491226 w 609"/>
              <a:gd name="T17" fmla="*/ 29497307 h 602"/>
              <a:gd name="T18" fmla="*/ 54867675 w 609"/>
              <a:gd name="T19" fmla="*/ 44376380 h 602"/>
              <a:gd name="T20" fmla="*/ 75960749 w 609"/>
              <a:gd name="T21" fmla="*/ 65520668 h 602"/>
              <a:gd name="T22" fmla="*/ 78678142 w 609"/>
              <a:gd name="T23" fmla="*/ 71002280 h 602"/>
              <a:gd name="T24" fmla="*/ 29245613 w 609"/>
              <a:gd name="T25" fmla="*/ 7439717 h 602"/>
              <a:gd name="T26" fmla="*/ 29245613 w 609"/>
              <a:gd name="T27" fmla="*/ 7439717 h 602"/>
              <a:gd name="T28" fmla="*/ 7246742 w 609"/>
              <a:gd name="T29" fmla="*/ 29497307 h 602"/>
              <a:gd name="T30" fmla="*/ 29245613 w 609"/>
              <a:gd name="T31" fmla="*/ 51685677 h 602"/>
              <a:gd name="T32" fmla="*/ 51244484 w 609"/>
              <a:gd name="T33" fmla="*/ 29497307 h 602"/>
              <a:gd name="T34" fmla="*/ 29245613 w 609"/>
              <a:gd name="T35" fmla="*/ 7439717 h 602"/>
              <a:gd name="T36" fmla="*/ 42056644 w 609"/>
              <a:gd name="T37" fmla="*/ 33282375 h 602"/>
              <a:gd name="T38" fmla="*/ 42056644 w 609"/>
              <a:gd name="T39" fmla="*/ 33282375 h 602"/>
              <a:gd name="T40" fmla="*/ 32868804 w 609"/>
              <a:gd name="T41" fmla="*/ 33282375 h 602"/>
              <a:gd name="T42" fmla="*/ 32868804 w 609"/>
              <a:gd name="T43" fmla="*/ 41504973 h 602"/>
              <a:gd name="T44" fmla="*/ 29245613 w 609"/>
              <a:gd name="T45" fmla="*/ 45290042 h 602"/>
              <a:gd name="T46" fmla="*/ 25622062 w 609"/>
              <a:gd name="T47" fmla="*/ 41504973 h 602"/>
              <a:gd name="T48" fmla="*/ 25622062 w 609"/>
              <a:gd name="T49" fmla="*/ 33282375 h 602"/>
              <a:gd name="T50" fmla="*/ 17340380 w 609"/>
              <a:gd name="T51" fmla="*/ 33282375 h 602"/>
              <a:gd name="T52" fmla="*/ 13716829 w 609"/>
              <a:gd name="T53" fmla="*/ 29497307 h 602"/>
              <a:gd name="T54" fmla="*/ 17340380 w 609"/>
              <a:gd name="T55" fmla="*/ 25842658 h 602"/>
              <a:gd name="T56" fmla="*/ 25622062 w 609"/>
              <a:gd name="T57" fmla="*/ 25842658 h 602"/>
              <a:gd name="T58" fmla="*/ 25622062 w 609"/>
              <a:gd name="T59" fmla="*/ 16575978 h 602"/>
              <a:gd name="T60" fmla="*/ 29245613 w 609"/>
              <a:gd name="T61" fmla="*/ 12921329 h 602"/>
              <a:gd name="T62" fmla="*/ 32868804 w 609"/>
              <a:gd name="T63" fmla="*/ 16575978 h 602"/>
              <a:gd name="T64" fmla="*/ 32868804 w 609"/>
              <a:gd name="T65" fmla="*/ 25842658 h 602"/>
              <a:gd name="T66" fmla="*/ 42056644 w 609"/>
              <a:gd name="T67" fmla="*/ 25842658 h 602"/>
              <a:gd name="T68" fmla="*/ 45679835 w 609"/>
              <a:gd name="T69" fmla="*/ 29497307 h 602"/>
              <a:gd name="T70" fmla="*/ 42056644 w 609"/>
              <a:gd name="T71" fmla="*/ 33282375 h 60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609" h="602">
                <a:moveTo>
                  <a:pt x="608" y="544"/>
                </a:moveTo>
                <a:lnTo>
                  <a:pt x="608" y="544"/>
                </a:lnTo>
                <a:cubicBezTo>
                  <a:pt x="608" y="573"/>
                  <a:pt x="579" y="601"/>
                  <a:pt x="551" y="601"/>
                </a:cubicBezTo>
                <a:cubicBezTo>
                  <a:pt x="530" y="601"/>
                  <a:pt x="516" y="594"/>
                  <a:pt x="509" y="587"/>
                </a:cubicBezTo>
                <a:cubicBezTo>
                  <a:pt x="346" y="417"/>
                  <a:pt x="346" y="417"/>
                  <a:pt x="346" y="417"/>
                </a:cubicBezTo>
                <a:cubicBezTo>
                  <a:pt x="311" y="438"/>
                  <a:pt x="269" y="453"/>
                  <a:pt x="226" y="453"/>
                </a:cubicBezTo>
                <a:cubicBezTo>
                  <a:pt x="106" y="453"/>
                  <a:pt x="0" y="347"/>
                  <a:pt x="0" y="226"/>
                </a:cubicBezTo>
                <a:cubicBezTo>
                  <a:pt x="0" y="99"/>
                  <a:pt x="106" y="0"/>
                  <a:pt x="226" y="0"/>
                </a:cubicBezTo>
                <a:cubicBezTo>
                  <a:pt x="353" y="0"/>
                  <a:pt x="452" y="99"/>
                  <a:pt x="452" y="226"/>
                </a:cubicBezTo>
                <a:cubicBezTo>
                  <a:pt x="452" y="269"/>
                  <a:pt x="445" y="304"/>
                  <a:pt x="424" y="340"/>
                </a:cubicBezTo>
                <a:cubicBezTo>
                  <a:pt x="587" y="502"/>
                  <a:pt x="587" y="502"/>
                  <a:pt x="587" y="502"/>
                </a:cubicBezTo>
                <a:cubicBezTo>
                  <a:pt x="601" y="516"/>
                  <a:pt x="608" y="530"/>
                  <a:pt x="608" y="544"/>
                </a:cubicBezTo>
                <a:close/>
                <a:moveTo>
                  <a:pt x="226" y="57"/>
                </a:moveTo>
                <a:lnTo>
                  <a:pt x="226" y="57"/>
                </a:lnTo>
                <a:cubicBezTo>
                  <a:pt x="134" y="57"/>
                  <a:pt x="56" y="127"/>
                  <a:pt x="56" y="226"/>
                </a:cubicBezTo>
                <a:cubicBezTo>
                  <a:pt x="56" y="318"/>
                  <a:pt x="134" y="396"/>
                  <a:pt x="226" y="396"/>
                </a:cubicBezTo>
                <a:cubicBezTo>
                  <a:pt x="325" y="396"/>
                  <a:pt x="396" y="318"/>
                  <a:pt x="396" y="226"/>
                </a:cubicBezTo>
                <a:cubicBezTo>
                  <a:pt x="396" y="127"/>
                  <a:pt x="325" y="57"/>
                  <a:pt x="226" y="57"/>
                </a:cubicBezTo>
                <a:close/>
                <a:moveTo>
                  <a:pt x="325" y="255"/>
                </a:moveTo>
                <a:lnTo>
                  <a:pt x="325" y="255"/>
                </a:lnTo>
                <a:cubicBezTo>
                  <a:pt x="254" y="255"/>
                  <a:pt x="254" y="255"/>
                  <a:pt x="254" y="255"/>
                </a:cubicBezTo>
                <a:cubicBezTo>
                  <a:pt x="254" y="318"/>
                  <a:pt x="254" y="318"/>
                  <a:pt x="254" y="318"/>
                </a:cubicBezTo>
                <a:cubicBezTo>
                  <a:pt x="254" y="333"/>
                  <a:pt x="247" y="347"/>
                  <a:pt x="226" y="347"/>
                </a:cubicBezTo>
                <a:cubicBezTo>
                  <a:pt x="212" y="347"/>
                  <a:pt x="198" y="333"/>
                  <a:pt x="198" y="318"/>
                </a:cubicBezTo>
                <a:cubicBezTo>
                  <a:pt x="198" y="255"/>
                  <a:pt x="198" y="255"/>
                  <a:pt x="198" y="255"/>
                </a:cubicBezTo>
                <a:cubicBezTo>
                  <a:pt x="134" y="255"/>
                  <a:pt x="134" y="255"/>
                  <a:pt x="134" y="255"/>
                </a:cubicBezTo>
                <a:cubicBezTo>
                  <a:pt x="120" y="255"/>
                  <a:pt x="106" y="241"/>
                  <a:pt x="106" y="226"/>
                </a:cubicBezTo>
                <a:cubicBezTo>
                  <a:pt x="106" y="205"/>
                  <a:pt x="120" y="198"/>
                  <a:pt x="134" y="198"/>
                </a:cubicBezTo>
                <a:cubicBezTo>
                  <a:pt x="198" y="198"/>
                  <a:pt x="198" y="198"/>
                  <a:pt x="198" y="198"/>
                </a:cubicBezTo>
                <a:cubicBezTo>
                  <a:pt x="198" y="127"/>
                  <a:pt x="198" y="127"/>
                  <a:pt x="198" y="127"/>
                </a:cubicBezTo>
                <a:cubicBezTo>
                  <a:pt x="198" y="113"/>
                  <a:pt x="212" y="99"/>
                  <a:pt x="226" y="99"/>
                </a:cubicBezTo>
                <a:cubicBezTo>
                  <a:pt x="247" y="99"/>
                  <a:pt x="254" y="113"/>
                  <a:pt x="254" y="127"/>
                </a:cubicBezTo>
                <a:cubicBezTo>
                  <a:pt x="254" y="198"/>
                  <a:pt x="254" y="198"/>
                  <a:pt x="254" y="198"/>
                </a:cubicBezTo>
                <a:cubicBezTo>
                  <a:pt x="325" y="198"/>
                  <a:pt x="325" y="198"/>
                  <a:pt x="325" y="198"/>
                </a:cubicBezTo>
                <a:cubicBezTo>
                  <a:pt x="339" y="198"/>
                  <a:pt x="353" y="205"/>
                  <a:pt x="353" y="226"/>
                </a:cubicBezTo>
                <a:cubicBezTo>
                  <a:pt x="353" y="241"/>
                  <a:pt x="339" y="255"/>
                  <a:pt x="325" y="2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1" name="椭圆 16">
            <a:extLst>
              <a:ext uri="{FF2B5EF4-FFF2-40B4-BE49-F238E27FC236}">
                <a16:creationId xmlns:a16="http://schemas.microsoft.com/office/drawing/2014/main" id="{B5F5BE07-4561-431F-B2D8-D4740498C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3606" y="3672840"/>
            <a:ext cx="52959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" name="Freeform 75">
            <a:extLst>
              <a:ext uri="{FF2B5EF4-FFF2-40B4-BE49-F238E27FC236}">
                <a16:creationId xmlns:a16="http://schemas.microsoft.com/office/drawing/2014/main" id="{C92B5F66-3B31-4DD9-AE1B-D34E8927C0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001" y="3808730"/>
            <a:ext cx="304800" cy="257810"/>
          </a:xfrm>
          <a:custGeom>
            <a:avLst/>
            <a:gdLst>
              <a:gd name="T0" fmla="*/ 74657633 w 602"/>
              <a:gd name="T1" fmla="*/ 66362244 h 510"/>
              <a:gd name="T2" fmla="*/ 74657633 w 602"/>
              <a:gd name="T3" fmla="*/ 66362244 h 510"/>
              <a:gd name="T4" fmla="*/ 3654665 w 602"/>
              <a:gd name="T5" fmla="*/ 66362244 h 510"/>
              <a:gd name="T6" fmla="*/ 0 w 602"/>
              <a:gd name="T7" fmla="*/ 62711741 h 510"/>
              <a:gd name="T8" fmla="*/ 0 w 602"/>
              <a:gd name="T9" fmla="*/ 3650503 h 510"/>
              <a:gd name="T10" fmla="*/ 3654665 w 602"/>
              <a:gd name="T11" fmla="*/ 0 h 510"/>
              <a:gd name="T12" fmla="*/ 7308970 w 602"/>
              <a:gd name="T13" fmla="*/ 3650503 h 510"/>
              <a:gd name="T14" fmla="*/ 7308970 w 602"/>
              <a:gd name="T15" fmla="*/ 50717076 h 510"/>
              <a:gd name="T16" fmla="*/ 7308970 w 602"/>
              <a:gd name="T17" fmla="*/ 50717076 h 510"/>
              <a:gd name="T18" fmla="*/ 7308970 w 602"/>
              <a:gd name="T19" fmla="*/ 58930528 h 510"/>
              <a:gd name="T20" fmla="*/ 74657633 w 602"/>
              <a:gd name="T21" fmla="*/ 58930528 h 510"/>
              <a:gd name="T22" fmla="*/ 78442719 w 602"/>
              <a:gd name="T23" fmla="*/ 62711741 h 510"/>
              <a:gd name="T24" fmla="*/ 74657633 w 602"/>
              <a:gd name="T25" fmla="*/ 66362244 h 510"/>
              <a:gd name="T26" fmla="*/ 66434636 w 602"/>
              <a:gd name="T27" fmla="*/ 55280025 h 510"/>
              <a:gd name="T28" fmla="*/ 66434636 w 602"/>
              <a:gd name="T29" fmla="*/ 55280025 h 510"/>
              <a:gd name="T30" fmla="*/ 58995246 w 602"/>
              <a:gd name="T31" fmla="*/ 55280025 h 510"/>
              <a:gd name="T32" fmla="*/ 55340580 w 602"/>
              <a:gd name="T33" fmla="*/ 51629522 h 510"/>
              <a:gd name="T34" fmla="*/ 55340580 w 602"/>
              <a:gd name="T35" fmla="*/ 25814941 h 510"/>
              <a:gd name="T36" fmla="*/ 58995246 w 602"/>
              <a:gd name="T37" fmla="*/ 22164077 h 510"/>
              <a:gd name="T38" fmla="*/ 66434636 w 602"/>
              <a:gd name="T39" fmla="*/ 22164077 h 510"/>
              <a:gd name="T40" fmla="*/ 70089301 w 602"/>
              <a:gd name="T41" fmla="*/ 25814941 h 510"/>
              <a:gd name="T42" fmla="*/ 70089301 w 602"/>
              <a:gd name="T43" fmla="*/ 51629522 h 510"/>
              <a:gd name="T44" fmla="*/ 66434636 w 602"/>
              <a:gd name="T45" fmla="*/ 55280025 h 510"/>
              <a:gd name="T46" fmla="*/ 45159830 w 602"/>
              <a:gd name="T47" fmla="*/ 55280025 h 510"/>
              <a:gd name="T48" fmla="*/ 45159830 w 602"/>
              <a:gd name="T49" fmla="*/ 55280025 h 510"/>
              <a:gd name="T50" fmla="*/ 37850860 w 602"/>
              <a:gd name="T51" fmla="*/ 55280025 h 510"/>
              <a:gd name="T52" fmla="*/ 34065774 w 602"/>
              <a:gd name="T53" fmla="*/ 51629522 h 510"/>
              <a:gd name="T54" fmla="*/ 34065774 w 602"/>
              <a:gd name="T55" fmla="*/ 11082219 h 510"/>
              <a:gd name="T56" fmla="*/ 37850860 w 602"/>
              <a:gd name="T57" fmla="*/ 7431355 h 510"/>
              <a:gd name="T58" fmla="*/ 45159830 w 602"/>
              <a:gd name="T59" fmla="*/ 7431355 h 510"/>
              <a:gd name="T60" fmla="*/ 48814495 w 602"/>
              <a:gd name="T61" fmla="*/ 11082219 h 510"/>
              <a:gd name="T62" fmla="*/ 48814495 w 602"/>
              <a:gd name="T63" fmla="*/ 51629522 h 510"/>
              <a:gd name="T64" fmla="*/ 45159830 w 602"/>
              <a:gd name="T65" fmla="*/ 55280025 h 510"/>
              <a:gd name="T66" fmla="*/ 24929472 w 602"/>
              <a:gd name="T67" fmla="*/ 55280025 h 510"/>
              <a:gd name="T68" fmla="*/ 24929472 w 602"/>
              <a:gd name="T69" fmla="*/ 55280025 h 510"/>
              <a:gd name="T70" fmla="*/ 17489720 w 602"/>
              <a:gd name="T71" fmla="*/ 55280025 h 510"/>
              <a:gd name="T72" fmla="*/ 13835055 w 602"/>
              <a:gd name="T73" fmla="*/ 51629522 h 510"/>
              <a:gd name="T74" fmla="*/ 13835055 w 602"/>
              <a:gd name="T75" fmla="*/ 44198166 h 510"/>
              <a:gd name="T76" fmla="*/ 17489720 w 602"/>
              <a:gd name="T77" fmla="*/ 40547302 h 510"/>
              <a:gd name="T78" fmla="*/ 24929472 w 602"/>
              <a:gd name="T79" fmla="*/ 40547302 h 510"/>
              <a:gd name="T80" fmla="*/ 28583776 w 602"/>
              <a:gd name="T81" fmla="*/ 44198166 h 510"/>
              <a:gd name="T82" fmla="*/ 28583776 w 602"/>
              <a:gd name="T83" fmla="*/ 51629522 h 510"/>
              <a:gd name="T84" fmla="*/ 24929472 w 602"/>
              <a:gd name="T85" fmla="*/ 55280025 h 51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02" h="510">
                <a:moveTo>
                  <a:pt x="572" y="509"/>
                </a:moveTo>
                <a:lnTo>
                  <a:pt x="572" y="509"/>
                </a:lnTo>
                <a:cubicBezTo>
                  <a:pt x="28" y="509"/>
                  <a:pt x="28" y="509"/>
                  <a:pt x="28" y="509"/>
                </a:cubicBezTo>
                <a:cubicBezTo>
                  <a:pt x="14" y="509"/>
                  <a:pt x="0" y="502"/>
                  <a:pt x="0" y="481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14"/>
                  <a:pt x="14" y="0"/>
                  <a:pt x="28" y="0"/>
                </a:cubicBezTo>
                <a:cubicBezTo>
                  <a:pt x="42" y="0"/>
                  <a:pt x="56" y="14"/>
                  <a:pt x="56" y="28"/>
                </a:cubicBezTo>
                <a:cubicBezTo>
                  <a:pt x="56" y="389"/>
                  <a:pt x="56" y="389"/>
                  <a:pt x="56" y="389"/>
                </a:cubicBezTo>
                <a:cubicBezTo>
                  <a:pt x="56" y="452"/>
                  <a:pt x="56" y="452"/>
                  <a:pt x="56" y="452"/>
                </a:cubicBezTo>
                <a:cubicBezTo>
                  <a:pt x="572" y="452"/>
                  <a:pt x="572" y="452"/>
                  <a:pt x="572" y="452"/>
                </a:cubicBezTo>
                <a:cubicBezTo>
                  <a:pt x="594" y="452"/>
                  <a:pt x="601" y="467"/>
                  <a:pt x="601" y="481"/>
                </a:cubicBezTo>
                <a:cubicBezTo>
                  <a:pt x="601" y="502"/>
                  <a:pt x="594" y="509"/>
                  <a:pt x="572" y="509"/>
                </a:cubicBezTo>
                <a:close/>
                <a:moveTo>
                  <a:pt x="509" y="424"/>
                </a:moveTo>
                <a:lnTo>
                  <a:pt x="509" y="424"/>
                </a:lnTo>
                <a:cubicBezTo>
                  <a:pt x="452" y="424"/>
                  <a:pt x="452" y="424"/>
                  <a:pt x="452" y="424"/>
                </a:cubicBezTo>
                <a:cubicBezTo>
                  <a:pt x="438" y="424"/>
                  <a:pt x="424" y="417"/>
                  <a:pt x="424" y="396"/>
                </a:cubicBezTo>
                <a:cubicBezTo>
                  <a:pt x="424" y="198"/>
                  <a:pt x="424" y="198"/>
                  <a:pt x="424" y="198"/>
                </a:cubicBezTo>
                <a:cubicBezTo>
                  <a:pt x="424" y="184"/>
                  <a:pt x="438" y="170"/>
                  <a:pt x="452" y="170"/>
                </a:cubicBezTo>
                <a:cubicBezTo>
                  <a:pt x="509" y="170"/>
                  <a:pt x="509" y="170"/>
                  <a:pt x="509" y="170"/>
                </a:cubicBezTo>
                <a:cubicBezTo>
                  <a:pt x="523" y="170"/>
                  <a:pt x="537" y="184"/>
                  <a:pt x="537" y="198"/>
                </a:cubicBezTo>
                <a:cubicBezTo>
                  <a:pt x="537" y="396"/>
                  <a:pt x="537" y="396"/>
                  <a:pt x="537" y="396"/>
                </a:cubicBezTo>
                <a:cubicBezTo>
                  <a:pt x="537" y="417"/>
                  <a:pt x="523" y="424"/>
                  <a:pt x="509" y="424"/>
                </a:cubicBezTo>
                <a:close/>
                <a:moveTo>
                  <a:pt x="346" y="424"/>
                </a:moveTo>
                <a:lnTo>
                  <a:pt x="346" y="424"/>
                </a:lnTo>
                <a:cubicBezTo>
                  <a:pt x="290" y="424"/>
                  <a:pt x="290" y="424"/>
                  <a:pt x="290" y="424"/>
                </a:cubicBezTo>
                <a:cubicBezTo>
                  <a:pt x="276" y="424"/>
                  <a:pt x="261" y="417"/>
                  <a:pt x="261" y="396"/>
                </a:cubicBezTo>
                <a:cubicBezTo>
                  <a:pt x="261" y="85"/>
                  <a:pt x="261" y="85"/>
                  <a:pt x="261" y="85"/>
                </a:cubicBezTo>
                <a:cubicBezTo>
                  <a:pt x="261" y="71"/>
                  <a:pt x="276" y="57"/>
                  <a:pt x="290" y="57"/>
                </a:cubicBezTo>
                <a:cubicBezTo>
                  <a:pt x="346" y="57"/>
                  <a:pt x="346" y="57"/>
                  <a:pt x="346" y="57"/>
                </a:cubicBezTo>
                <a:cubicBezTo>
                  <a:pt x="367" y="57"/>
                  <a:pt x="374" y="71"/>
                  <a:pt x="374" y="85"/>
                </a:cubicBezTo>
                <a:cubicBezTo>
                  <a:pt x="374" y="396"/>
                  <a:pt x="374" y="396"/>
                  <a:pt x="374" y="396"/>
                </a:cubicBezTo>
                <a:cubicBezTo>
                  <a:pt x="374" y="417"/>
                  <a:pt x="367" y="424"/>
                  <a:pt x="346" y="424"/>
                </a:cubicBezTo>
                <a:close/>
                <a:moveTo>
                  <a:pt x="191" y="424"/>
                </a:moveTo>
                <a:lnTo>
                  <a:pt x="191" y="424"/>
                </a:lnTo>
                <a:cubicBezTo>
                  <a:pt x="134" y="424"/>
                  <a:pt x="134" y="424"/>
                  <a:pt x="134" y="424"/>
                </a:cubicBezTo>
                <a:cubicBezTo>
                  <a:pt x="113" y="424"/>
                  <a:pt x="106" y="417"/>
                  <a:pt x="106" y="396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106" y="325"/>
                  <a:pt x="113" y="311"/>
                  <a:pt x="134" y="311"/>
                </a:cubicBezTo>
                <a:cubicBezTo>
                  <a:pt x="191" y="311"/>
                  <a:pt x="191" y="311"/>
                  <a:pt x="191" y="311"/>
                </a:cubicBezTo>
                <a:cubicBezTo>
                  <a:pt x="205" y="311"/>
                  <a:pt x="219" y="325"/>
                  <a:pt x="219" y="339"/>
                </a:cubicBezTo>
                <a:cubicBezTo>
                  <a:pt x="219" y="396"/>
                  <a:pt x="219" y="396"/>
                  <a:pt x="219" y="396"/>
                </a:cubicBezTo>
                <a:cubicBezTo>
                  <a:pt x="219" y="417"/>
                  <a:pt x="205" y="424"/>
                  <a:pt x="191" y="4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3" name="椭圆 16">
            <a:extLst>
              <a:ext uri="{FF2B5EF4-FFF2-40B4-BE49-F238E27FC236}">
                <a16:creationId xmlns:a16="http://schemas.microsoft.com/office/drawing/2014/main" id="{414926A2-F88F-420D-8FA0-C79C1AE51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016" y="3672840"/>
            <a:ext cx="529590" cy="529590"/>
          </a:xfrm>
          <a:prstGeom prst="ellipse">
            <a:avLst/>
          </a:prstGeom>
          <a:solidFill>
            <a:srgbClr val="0086DB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4" name="Freeform 84">
            <a:extLst>
              <a:ext uri="{FF2B5EF4-FFF2-40B4-BE49-F238E27FC236}">
                <a16:creationId xmlns:a16="http://schemas.microsoft.com/office/drawing/2014/main" id="{F2410344-281A-4FEE-A004-C40A95735D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5476" y="3785235"/>
            <a:ext cx="304800" cy="304800"/>
          </a:xfrm>
          <a:custGeom>
            <a:avLst/>
            <a:gdLst>
              <a:gd name="T0" fmla="*/ 43332858 w 602"/>
              <a:gd name="T1" fmla="*/ 34979440 h 602"/>
              <a:gd name="T2" fmla="*/ 43332858 w 602"/>
              <a:gd name="T3" fmla="*/ 34979440 h 602"/>
              <a:gd name="T4" fmla="*/ 43332858 w 602"/>
              <a:gd name="T5" fmla="*/ 0 h 602"/>
              <a:gd name="T6" fmla="*/ 78442719 w 602"/>
              <a:gd name="T7" fmla="*/ 34979440 h 602"/>
              <a:gd name="T8" fmla="*/ 43332858 w 602"/>
              <a:gd name="T9" fmla="*/ 34979440 h 602"/>
              <a:gd name="T10" fmla="*/ 36023527 w 602"/>
              <a:gd name="T11" fmla="*/ 78442719 h 602"/>
              <a:gd name="T12" fmla="*/ 36023527 w 602"/>
              <a:gd name="T13" fmla="*/ 78442719 h 602"/>
              <a:gd name="T14" fmla="*/ 0 w 602"/>
              <a:gd name="T15" fmla="*/ 42419192 h 602"/>
              <a:gd name="T16" fmla="*/ 36023527 w 602"/>
              <a:gd name="T17" fmla="*/ 7308970 h 602"/>
              <a:gd name="T18" fmla="*/ 36023527 w 602"/>
              <a:gd name="T19" fmla="*/ 42419192 h 602"/>
              <a:gd name="T20" fmla="*/ 71002968 w 602"/>
              <a:gd name="T21" fmla="*/ 42419192 h 602"/>
              <a:gd name="T22" fmla="*/ 36023527 w 602"/>
              <a:gd name="T23" fmla="*/ 78442719 h 60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2" h="602">
                <a:moveTo>
                  <a:pt x="332" y="268"/>
                </a:moveTo>
                <a:lnTo>
                  <a:pt x="332" y="268"/>
                </a:lnTo>
                <a:cubicBezTo>
                  <a:pt x="332" y="0"/>
                  <a:pt x="332" y="0"/>
                  <a:pt x="332" y="0"/>
                </a:cubicBezTo>
                <a:cubicBezTo>
                  <a:pt x="481" y="0"/>
                  <a:pt x="601" y="120"/>
                  <a:pt x="601" y="268"/>
                </a:cubicBezTo>
                <a:lnTo>
                  <a:pt x="332" y="268"/>
                </a:lnTo>
                <a:close/>
                <a:moveTo>
                  <a:pt x="276" y="601"/>
                </a:moveTo>
                <a:lnTo>
                  <a:pt x="276" y="601"/>
                </a:lnTo>
                <a:cubicBezTo>
                  <a:pt x="120" y="601"/>
                  <a:pt x="0" y="480"/>
                  <a:pt x="0" y="325"/>
                </a:cubicBezTo>
                <a:cubicBezTo>
                  <a:pt x="0" y="176"/>
                  <a:pt x="120" y="56"/>
                  <a:pt x="276" y="56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544" y="325"/>
                  <a:pt x="544" y="325"/>
                  <a:pt x="544" y="325"/>
                </a:cubicBezTo>
                <a:cubicBezTo>
                  <a:pt x="544" y="480"/>
                  <a:pt x="424" y="601"/>
                  <a:pt x="276" y="6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none" lIns="34290" tIns="17145" rIns="34290" bIns="17145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阿里巴巴普惠体 R" panose="00020600040101010101" pitchFamily="18" charset="-122"/>
              <a:cs typeface="+mn-cs"/>
            </a:endParaRPr>
          </a:p>
        </p:txBody>
      </p:sp>
      <p:sp>
        <p:nvSpPr>
          <p:cNvPr id="17" name="文本框 49">
            <a:extLst>
              <a:ext uri="{FF2B5EF4-FFF2-40B4-BE49-F238E27FC236}">
                <a16:creationId xmlns:a16="http://schemas.microsoft.com/office/drawing/2014/main" id="{C318173E-55E3-4CBB-A7E2-33A1735C03D6}"/>
              </a:ext>
            </a:extLst>
          </p:cNvPr>
          <p:cNvSpPr txBox="1"/>
          <p:nvPr/>
        </p:nvSpPr>
        <p:spPr>
          <a:xfrm>
            <a:off x="-2316328" y="1845131"/>
            <a:ext cx="81692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3600" b="1" dirty="0">
                <a:solidFill>
                  <a:srgbClr val="0087DC"/>
                </a:solidFill>
                <a:latin typeface="Arial" panose="020B0604020202020204" pitchFamily="34" charset="0"/>
                <a:ea typeface="阿里巴巴普惠体 M" panose="00020600040101010101" charset="-122"/>
                <a:cs typeface="Arial" panose="020B0604020202020204" pitchFamily="34" charset="0"/>
              </a:rPr>
              <a:t>SoftBank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3600" b="1" dirty="0">
                <a:solidFill>
                  <a:srgbClr val="0087DC"/>
                </a:solidFill>
                <a:latin typeface="Arial" panose="020B0604020202020204" pitchFamily="34" charset="0"/>
                <a:ea typeface="阿里巴巴普惠体 M" panose="00020600040101010101" charset="-122"/>
                <a:cs typeface="Arial" panose="020B0604020202020204" pitchFamily="34" charset="0"/>
              </a:rPr>
              <a:t>inventory management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87DC"/>
              </a:solidFill>
              <a:effectLst/>
              <a:uLnTx/>
              <a:uFillTx/>
              <a:latin typeface="Arial" panose="020B0604020202020204" pitchFamily="34" charset="0"/>
              <a:ea typeface="阿里巴巴普惠体 M" panose="00020600040101010101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518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39117E77-3437-9489-F435-80D0E748AC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61EF61-A9C3-439B-9ACC-EF14E8FDF19D}" type="slidenum">
              <a:rPr kumimoji="0" lang="zh-TW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TW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/>
              <a:cs typeface="+mn-cs"/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9E18E9E2-5C18-4DCA-A6C4-D2C2072CD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TW" dirty="0"/>
              <a:t>SoftBank inventory management</a:t>
            </a:r>
            <a:endParaRPr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9DF2D1C7-173A-E8AA-64F4-8CE16A43D3FB}"/>
              </a:ext>
            </a:extLst>
          </p:cNvPr>
          <p:cNvSpPr txBox="1"/>
          <p:nvPr/>
        </p:nvSpPr>
        <p:spPr>
          <a:xfrm>
            <a:off x="355858" y="1105741"/>
            <a:ext cx="1183614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buFont typeface="Wingdings" panose="05000000000000000000" pitchFamily="2" charset="2"/>
              <a:buChar char="l"/>
            </a:pPr>
            <a:r>
              <a:rPr lang="en-US" altLang="ja-JP" sz="2000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As is</a:t>
            </a:r>
          </a:p>
          <a:p>
            <a:pPr marL="342900" indent="-342900" rtl="0">
              <a:buFont typeface="Wingdings" panose="05000000000000000000" pitchFamily="2" charset="2"/>
              <a:buChar char="Ø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Currently, inventory is managed across four Excel files, but manual data entry increases the risk of typos.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814B3D0-11C5-29AF-4797-1F7646328B70}"/>
              </a:ext>
            </a:extLst>
          </p:cNvPr>
          <p:cNvSpPr txBox="1"/>
          <p:nvPr/>
        </p:nvSpPr>
        <p:spPr>
          <a:xfrm>
            <a:off x="355858" y="3872072"/>
            <a:ext cx="1183614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buFont typeface="Wingdings" panose="05000000000000000000" pitchFamily="2" charset="2"/>
              <a:buChar char="l"/>
            </a:pPr>
            <a:r>
              <a:rPr lang="en-US" altLang="ja-JP" sz="2000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To B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By automating the upload of customer order data and factory SKD shipments into the database, daily stock estimates can be calculated more accurately and efficiently.</a:t>
            </a:r>
          </a:p>
        </p:txBody>
      </p:sp>
      <p:pic>
        <p:nvPicPr>
          <p:cNvPr id="7" name="図 6" descr="図形&#10;&#10;低い精度で自動的に生成された説明">
            <a:extLst>
              <a:ext uri="{FF2B5EF4-FFF2-40B4-BE49-F238E27FC236}">
                <a16:creationId xmlns:a16="http://schemas.microsoft.com/office/drawing/2014/main" id="{FCFAAD0F-EF45-9398-B126-856BB8C4CE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924" y="2146617"/>
            <a:ext cx="835747" cy="835747"/>
          </a:xfrm>
          <a:prstGeom prst="rect">
            <a:avLst/>
          </a:prstGeom>
        </p:spPr>
      </p:pic>
      <p:pic>
        <p:nvPicPr>
          <p:cNvPr id="8" name="図 7" descr="図形&#10;&#10;低い精度で自動的に生成された説明">
            <a:extLst>
              <a:ext uri="{FF2B5EF4-FFF2-40B4-BE49-F238E27FC236}">
                <a16:creationId xmlns:a16="http://schemas.microsoft.com/office/drawing/2014/main" id="{F4A3C263-242F-1905-EF78-D2D3F6D5AB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324" y="2299017"/>
            <a:ext cx="835747" cy="835747"/>
          </a:xfrm>
          <a:prstGeom prst="rect">
            <a:avLst/>
          </a:prstGeom>
        </p:spPr>
      </p:pic>
      <p:pic>
        <p:nvPicPr>
          <p:cNvPr id="9" name="図 8" descr="図形&#10;&#10;低い精度で自動的に生成された説明">
            <a:extLst>
              <a:ext uri="{FF2B5EF4-FFF2-40B4-BE49-F238E27FC236}">
                <a16:creationId xmlns:a16="http://schemas.microsoft.com/office/drawing/2014/main" id="{CFD3E775-BE23-A744-FAF9-6F56B8A70F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" y="2451417"/>
            <a:ext cx="835747" cy="835747"/>
          </a:xfrm>
          <a:prstGeom prst="rect">
            <a:avLst/>
          </a:prstGeom>
        </p:spPr>
      </p:pic>
      <p:pic>
        <p:nvPicPr>
          <p:cNvPr id="10" name="図 9" descr="図形&#10;&#10;低い精度で自動的に生成された説明">
            <a:extLst>
              <a:ext uri="{FF2B5EF4-FFF2-40B4-BE49-F238E27FC236}">
                <a16:creationId xmlns:a16="http://schemas.microsoft.com/office/drawing/2014/main" id="{3C486DD1-311B-22E8-9D2B-9C1E6130F3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124" y="2575302"/>
            <a:ext cx="835747" cy="835747"/>
          </a:xfrm>
          <a:prstGeom prst="rect">
            <a:avLst/>
          </a:prstGeom>
        </p:spPr>
      </p:pic>
      <p:pic>
        <p:nvPicPr>
          <p:cNvPr id="14" name="図 13" descr="アイコン&#10;&#10;自動的に生成された説明">
            <a:extLst>
              <a:ext uri="{FF2B5EF4-FFF2-40B4-BE49-F238E27FC236}">
                <a16:creationId xmlns:a16="http://schemas.microsoft.com/office/drawing/2014/main" id="{A1D0AF8A-D5AE-F6C9-7E84-AACF4A4683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802" y="2501466"/>
            <a:ext cx="782563" cy="782563"/>
          </a:xfrm>
          <a:prstGeom prst="rect">
            <a:avLst/>
          </a:prstGeom>
        </p:spPr>
      </p:pic>
      <p:pic>
        <p:nvPicPr>
          <p:cNvPr id="16" name="図 15" descr="アイコン&#10;&#10;自動的に生成された説明">
            <a:extLst>
              <a:ext uri="{FF2B5EF4-FFF2-40B4-BE49-F238E27FC236}">
                <a16:creationId xmlns:a16="http://schemas.microsoft.com/office/drawing/2014/main" id="{184A695B-D0AE-019D-59E1-A87ECA5C62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696" y="1868055"/>
            <a:ext cx="1653125" cy="1653125"/>
          </a:xfrm>
          <a:prstGeom prst="rect">
            <a:avLst/>
          </a:prstGeom>
        </p:spPr>
      </p:pic>
      <p:pic>
        <p:nvPicPr>
          <p:cNvPr id="17" name="図 16" descr="図形&#10;&#10;低い精度で自動的に生成された説明">
            <a:extLst>
              <a:ext uri="{FF2B5EF4-FFF2-40B4-BE49-F238E27FC236}">
                <a16:creationId xmlns:a16="http://schemas.microsoft.com/office/drawing/2014/main" id="{C7BED46F-984A-29F4-974A-56C5C1E77C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921" y="5152131"/>
            <a:ext cx="835747" cy="835747"/>
          </a:xfrm>
          <a:prstGeom prst="rect">
            <a:avLst/>
          </a:prstGeom>
        </p:spPr>
      </p:pic>
      <p:pic>
        <p:nvPicPr>
          <p:cNvPr id="21" name="図 20" descr="アイコン&#10;&#10;自動的に生成された説明">
            <a:extLst>
              <a:ext uri="{FF2B5EF4-FFF2-40B4-BE49-F238E27FC236}">
                <a16:creationId xmlns:a16="http://schemas.microsoft.com/office/drawing/2014/main" id="{EF0382F1-8DAE-54B2-4078-81423B5ABE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312" y="5053962"/>
            <a:ext cx="1032082" cy="1032082"/>
          </a:xfrm>
          <a:prstGeom prst="rect">
            <a:avLst/>
          </a:prstGeom>
        </p:spPr>
      </p:pic>
      <p:pic>
        <p:nvPicPr>
          <p:cNvPr id="22" name="図 21" descr="アイコン&#10;&#10;自動的に生成された説明">
            <a:extLst>
              <a:ext uri="{FF2B5EF4-FFF2-40B4-BE49-F238E27FC236}">
                <a16:creationId xmlns:a16="http://schemas.microsoft.com/office/drawing/2014/main" id="{832934D7-C155-35F3-60B8-6D95DCD4A9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152" y="5152129"/>
            <a:ext cx="835748" cy="835748"/>
          </a:xfrm>
          <a:prstGeom prst="rect">
            <a:avLst/>
          </a:prstGeom>
        </p:spPr>
      </p:pic>
      <p:pic>
        <p:nvPicPr>
          <p:cNvPr id="23" name="図 22" descr="アイコン&#10;&#10;自動的に生成された説明">
            <a:extLst>
              <a:ext uri="{FF2B5EF4-FFF2-40B4-BE49-F238E27FC236}">
                <a16:creationId xmlns:a16="http://schemas.microsoft.com/office/drawing/2014/main" id="{F90D8424-6344-0D8B-771A-E830D31D03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152" y="2393259"/>
            <a:ext cx="835748" cy="835748"/>
          </a:xfrm>
          <a:prstGeom prst="rect">
            <a:avLst/>
          </a:prstGeom>
        </p:spPr>
      </p:pic>
      <p:pic>
        <p:nvPicPr>
          <p:cNvPr id="25" name="図 24" descr="ボール, 部屋 が含まれている画像&#10;&#10;自動的に生成された説明">
            <a:extLst>
              <a:ext uri="{FF2B5EF4-FFF2-40B4-BE49-F238E27FC236}">
                <a16:creationId xmlns:a16="http://schemas.microsoft.com/office/drawing/2014/main" id="{3E3B3C18-7FA5-A710-05BC-D69F4CA6C1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231" y="2039453"/>
            <a:ext cx="1552219" cy="1552219"/>
          </a:xfrm>
          <a:prstGeom prst="rect">
            <a:avLst/>
          </a:prstGeom>
        </p:spPr>
      </p:pic>
      <p:pic>
        <p:nvPicPr>
          <p:cNvPr id="26" name="図 25" descr="アイコン&#10;&#10;自動的に生成された説明">
            <a:extLst>
              <a:ext uri="{FF2B5EF4-FFF2-40B4-BE49-F238E27FC236}">
                <a16:creationId xmlns:a16="http://schemas.microsoft.com/office/drawing/2014/main" id="{1A598239-790A-8CEC-F31F-602209AF2B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802" y="5178722"/>
            <a:ext cx="782563" cy="782563"/>
          </a:xfrm>
          <a:prstGeom prst="rect">
            <a:avLst/>
          </a:prstGeom>
        </p:spPr>
      </p:pic>
      <p:pic>
        <p:nvPicPr>
          <p:cNvPr id="28" name="図 27" descr="アイコン&#10;&#10;自動的に生成された説明">
            <a:extLst>
              <a:ext uri="{FF2B5EF4-FFF2-40B4-BE49-F238E27FC236}">
                <a16:creationId xmlns:a16="http://schemas.microsoft.com/office/drawing/2014/main" id="{F35C98B0-F5A1-C2EB-34D1-FA84663B09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6984" y="4891606"/>
            <a:ext cx="1585095" cy="1585095"/>
          </a:xfrm>
          <a:prstGeom prst="rect">
            <a:avLst/>
          </a:prstGeom>
        </p:spPr>
      </p:pic>
      <p:pic>
        <p:nvPicPr>
          <p:cNvPr id="30" name="図 29" descr="アイコン&#10;&#10;自動的に生成された説明">
            <a:extLst>
              <a:ext uri="{FF2B5EF4-FFF2-40B4-BE49-F238E27FC236}">
                <a16:creationId xmlns:a16="http://schemas.microsoft.com/office/drawing/2014/main" id="{FCDC3265-266C-FB5D-A557-C5A4E4C500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695" y="4894908"/>
            <a:ext cx="1350190" cy="1350190"/>
          </a:xfrm>
          <a:prstGeom prst="rect">
            <a:avLst/>
          </a:prstGeom>
        </p:spPr>
      </p:pic>
      <p:pic>
        <p:nvPicPr>
          <p:cNvPr id="31" name="図 30" descr="アイコン&#10;&#10;自動的に生成された説明">
            <a:extLst>
              <a:ext uri="{FF2B5EF4-FFF2-40B4-BE49-F238E27FC236}">
                <a16:creationId xmlns:a16="http://schemas.microsoft.com/office/drawing/2014/main" id="{84C19B88-A579-8A60-F85B-7C749783F6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1163" y="5152129"/>
            <a:ext cx="835748" cy="83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37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9E18E9E2-5C18-4DCA-A6C4-D2C2072CD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0168" y="347624"/>
            <a:ext cx="9889912" cy="686179"/>
          </a:xfrm>
        </p:spPr>
        <p:txBody>
          <a:bodyPr>
            <a:normAutofit fontScale="90000"/>
          </a:bodyPr>
          <a:lstStyle/>
          <a:p>
            <a:r>
              <a:rPr lang="en-US" altLang="zh-TW" dirty="0"/>
              <a:t>Development SKD and Function (1-1)</a:t>
            </a:r>
            <a:endParaRPr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5C58BD-36B2-F732-7DC9-5E6A8FB5787D}"/>
              </a:ext>
            </a:extLst>
          </p:cNvPr>
          <p:cNvSpPr txBox="1"/>
          <p:nvPr/>
        </p:nvSpPr>
        <p:spPr>
          <a:xfrm>
            <a:off x="429719" y="1158726"/>
            <a:ext cx="11332561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rtl="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en-US" altLang="zh-TW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Plan and discuss detail: 2024/11/13-2024/12/26</a:t>
            </a:r>
          </a:p>
          <a:p>
            <a:pPr marL="342900" indent="-342900" rtl="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en-US" altLang="zh-TW" dirty="0">
                <a:effectLst/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New Year Holiday:2024/12/27-2025/1/5</a:t>
            </a:r>
          </a:p>
          <a:p>
            <a:pPr marL="342900" indent="-342900" rtl="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Redesign Excel Format and Collect Data: 2025/1/6-2025/1/31</a:t>
            </a:r>
          </a:p>
          <a:p>
            <a:pPr marL="342900" indent="-342900" rtl="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en-US" altLang="ja-JP" dirty="0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Development Period</a:t>
            </a:r>
            <a:r>
              <a:rPr lang="en-US" altLang="ja-JP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rPr>
              <a:t>: 2025/02/01-2025/05/31</a:t>
            </a:r>
            <a:endParaRPr lang="en-US" altLang="ja-JP" dirty="0">
              <a:latin typeface="UD デジタル 教科書体 NK-R" panose="02020400000000000000" pitchFamily="18" charset="-128"/>
              <a:ea typeface="UD デジタル 教科書体 NK-R" panose="02020400000000000000" pitchFamily="18" charset="-128"/>
            </a:endParaRPr>
          </a:p>
          <a:p>
            <a:pPr rtl="0"/>
            <a:endParaRPr lang="en-US" altLang="ja-JP" sz="1600" dirty="0"/>
          </a:p>
        </p:txBody>
      </p:sp>
    </p:spTree>
    <p:extLst>
      <p:ext uri="{BB962C8B-B14F-4D97-AF65-F5344CB8AC3E}">
        <p14:creationId xmlns:p14="http://schemas.microsoft.com/office/powerpoint/2010/main" val="674092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9E18E9E2-5C18-4DCA-A6C4-D2C2072CD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0168" y="347624"/>
            <a:ext cx="9808631" cy="686179"/>
          </a:xfrm>
        </p:spPr>
        <p:txBody>
          <a:bodyPr>
            <a:normAutofit fontScale="90000"/>
          </a:bodyPr>
          <a:lstStyle/>
          <a:p>
            <a:r>
              <a:rPr lang="en-US" altLang="zh-TW" dirty="0"/>
              <a:t>Development SKD and Function(1-2)</a:t>
            </a:r>
            <a:endParaRPr lang="ja-JP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C99E7DE2-8153-7B9D-8713-D9F7F5A468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240860"/>
              </p:ext>
            </p:extLst>
          </p:nvPr>
        </p:nvGraphicFramePr>
        <p:xfrm>
          <a:off x="117060" y="1166054"/>
          <a:ext cx="11984111" cy="5587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093">
                  <a:extLst>
                    <a:ext uri="{9D8B030D-6E8A-4147-A177-3AD203B41FA5}">
                      <a16:colId xmlns:a16="http://schemas.microsoft.com/office/drawing/2014/main" val="664768205"/>
                    </a:ext>
                  </a:extLst>
                </a:gridCol>
                <a:gridCol w="3227518">
                  <a:extLst>
                    <a:ext uri="{9D8B030D-6E8A-4147-A177-3AD203B41FA5}">
                      <a16:colId xmlns:a16="http://schemas.microsoft.com/office/drawing/2014/main" val="23769426"/>
                    </a:ext>
                  </a:extLst>
                </a:gridCol>
                <a:gridCol w="4828450">
                  <a:extLst>
                    <a:ext uri="{9D8B030D-6E8A-4147-A177-3AD203B41FA5}">
                      <a16:colId xmlns:a16="http://schemas.microsoft.com/office/drawing/2014/main" val="3738466821"/>
                    </a:ext>
                  </a:extLst>
                </a:gridCol>
                <a:gridCol w="1020350">
                  <a:extLst>
                    <a:ext uri="{9D8B030D-6E8A-4147-A177-3AD203B41FA5}">
                      <a16:colId xmlns:a16="http://schemas.microsoft.com/office/drawing/2014/main" val="3448161697"/>
                    </a:ext>
                  </a:extLst>
                </a:gridCol>
                <a:gridCol w="1020350">
                  <a:extLst>
                    <a:ext uri="{9D8B030D-6E8A-4147-A177-3AD203B41FA5}">
                      <a16:colId xmlns:a16="http://schemas.microsoft.com/office/drawing/2014/main" val="2551565609"/>
                    </a:ext>
                  </a:extLst>
                </a:gridCol>
                <a:gridCol w="1020350">
                  <a:extLst>
                    <a:ext uri="{9D8B030D-6E8A-4147-A177-3AD203B41FA5}">
                      <a16:colId xmlns:a16="http://schemas.microsoft.com/office/drawing/2014/main" val="1311819740"/>
                    </a:ext>
                  </a:extLst>
                </a:gridCol>
              </a:tblGrid>
              <a:tr h="332080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Phase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Function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Benefit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Coding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UAT</a:t>
                      </a:r>
                      <a:endParaRPr lang="zh-TW" alt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2000" dirty="0"/>
                        <a:t>Go live</a:t>
                      </a:r>
                      <a:endParaRPr lang="zh-TW" altLang="en-US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346563"/>
                  </a:ext>
                </a:extLst>
              </a:tr>
              <a:tr h="1456045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1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Daily stock calcula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1.Reduces human error by automating stock calculations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2.Ensures accurate and up-to-date inventory data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3.Increases efficiency, freeing up time for other tasks.</a:t>
                      </a:r>
                      <a:endParaRPr lang="en-US" altLang="ja-JP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2/01-02/28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3/01-03/19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3/20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23183"/>
                  </a:ext>
                </a:extLst>
              </a:tr>
              <a:tr h="1685947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2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見積書</a:t>
                      </a: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/</a:t>
                      </a:r>
                      <a:r>
                        <a:rPr lang="zh-TW" altLang="en-US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注文書</a:t>
                      </a: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/</a:t>
                      </a:r>
                      <a:r>
                        <a:rPr lang="zh-TW" altLang="en-US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納品書</a:t>
                      </a: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/</a:t>
                      </a:r>
                      <a:r>
                        <a:rPr lang="zh-TW" altLang="en-US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請求書</a:t>
                      </a: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/</a:t>
                      </a:r>
                      <a:r>
                        <a:rPr lang="zh-TW" altLang="en-US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出荷</a:t>
                      </a:r>
                      <a:r>
                        <a:rPr lang="ja-JP" altLang="en-US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リスト</a:t>
                      </a:r>
                      <a:r>
                        <a:rPr lang="zh-TW" altLang="en-US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 </a:t>
                      </a:r>
                      <a:r>
                        <a:rPr lang="en-US" altLang="ja-JP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automated gene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1.Speeds up document creation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2.Ensures consistency and accuracy in documents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3.Reduces repetitive tasks and improves productivity.</a:t>
                      </a:r>
                      <a:endParaRPr lang="en-US" altLang="ja-JP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3/20-04/20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4/21-04/30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5/01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8624761"/>
                  </a:ext>
                </a:extLst>
              </a:tr>
              <a:tr h="1456045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/>
                        <a:t>3</a:t>
                      </a:r>
                      <a:endParaRPr lang="zh-TW" altLang="en-US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Daily </a:t>
                      </a:r>
                      <a:r>
                        <a:rPr lang="en-US" altLang="ja-JP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stock trend analysis using Power B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1.Provides real-time insights for better decisions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2.Identifies potential stock issues early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3.Improves forecasting and planning accuracy.</a:t>
                      </a:r>
                      <a:endParaRPr lang="en-US" altLang="ja-JP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5/01-05/20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5/21-05/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UD デジタル 教科書体 NK-R" panose="02020400000000000000" pitchFamily="18" charset="-128"/>
                          <a:ea typeface="UD デジタル 教科書体 NK-R" panose="02020400000000000000" pitchFamily="18" charset="-128"/>
                        </a:rPr>
                        <a:t>05/31</a:t>
                      </a:r>
                      <a:endParaRPr lang="zh-TW" altLang="en-US" sz="1800" dirty="0">
                        <a:latin typeface="UD デジタル 教科書体 NK-R" panose="02020400000000000000" pitchFamily="18" charset="-128"/>
                        <a:ea typeface="UD デジタル 教科書体 NK-R" panose="02020400000000000000" pitchFamily="18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80497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8397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4CBA8-1ECE-4AC3-8A6A-52EEFDEEE4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TW" sz="5400">
                <a:solidFill>
                  <a:srgbClr val="0086DB"/>
                </a:solidFill>
                <a:latin typeface="Arial" panose="020B0604020202020204" pitchFamily="34" charset="0"/>
                <a:ea typeface="阿里巴巴普惠体 B" panose="00020600040101010101" charset="-122"/>
              </a:rPr>
              <a:t>      Thank you </a:t>
            </a:r>
            <a:endParaRPr lang="zh-TW" altLang="en-US" sz="5400">
              <a:solidFill>
                <a:srgbClr val="0086DB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9859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AV_fXpQU6VUoJVXNpI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heme/theme1.xml><?xml version="1.0" encoding="utf-8"?>
<a:theme xmlns:a="http://schemas.openxmlformats.org/drawingml/2006/main" name="1_自訂設計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70C0"/>
      </a:accent1>
      <a:accent2>
        <a:srgbClr val="C0504D"/>
      </a:accent2>
      <a:accent3>
        <a:srgbClr val="FFFFFF"/>
      </a:accent3>
      <a:accent4>
        <a:srgbClr val="000000"/>
      </a:accent4>
      <a:accent5>
        <a:srgbClr val="00B0F0"/>
      </a:accent5>
      <a:accent6>
        <a:srgbClr val="92D05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6"/>
          </a:solidFill>
        </a:ln>
      </a:spPr>
      <a:bodyPr rtlCol="0" anchor="ctr"/>
      <a:lstStyle>
        <a:defPPr marL="0" marR="0" indent="0" algn="ctr" defTabSz="121917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2400" b="0" i="0" u="none" strike="noStrike" kern="1200" cap="none" spc="0" normalizeH="0" baseline="0" noProof="0">
            <a:ln>
              <a:noFill/>
            </a:ln>
            <a:solidFill>
              <a:prstClr val="white"/>
            </a:solidFill>
            <a:effectLst/>
            <a:uLnTx/>
            <a:uFillTx/>
            <a:latin typeface="Calibri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11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12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_Office Theme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entury Gothic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3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4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5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2e1k1ra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6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2e1k1ra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自訂設計">
  <a:themeElements>
    <a:clrScheme name="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訂設計">
      <a:majorFont>
        <a:latin typeface="Arial"/>
        <a:ea typeface="微軟正黑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0.xml><?xml version="1.0" encoding="utf-8"?>
<a:theme xmlns:a="http://schemas.openxmlformats.org/drawingml/2006/main" name="17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8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Century Gothic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5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7_自訂設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8_自訂設計">
  <a:themeElements>
    <a:clrScheme name="蓝绿色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C6021C3976D4CA92F6921AAF32A87" ma:contentTypeVersion="5" ma:contentTypeDescription="Create a new document." ma:contentTypeScope="" ma:versionID="94c806c5562757f0d1e5691999c60e19">
  <xsd:schema xmlns:xsd="http://www.w3.org/2001/XMLSchema" xmlns:xs="http://www.w3.org/2001/XMLSchema" xmlns:p="http://schemas.microsoft.com/office/2006/metadata/properties" xmlns:ns2="127ce643-a8b3-47e4-a695-1375cc17a113" xmlns:ns3="f880f268-aba0-47b7-bab7-c95b09c48f09" targetNamespace="http://schemas.microsoft.com/office/2006/metadata/properties" ma:root="true" ma:fieldsID="c04b4baeaa5f920ca508df0ceb4901b6" ns2:_="" ns3:_="">
    <xsd:import namespace="127ce643-a8b3-47e4-a695-1375cc17a113"/>
    <xsd:import namespace="f880f268-aba0-47b7-bab7-c95b09c48f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7ce643-a8b3-47e4-a695-1375cc17a1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80f268-aba0-47b7-bab7-c95b09c48f0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1B448B-65FA-40CB-868E-C2803EBF107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7ECD9B-C72F-4969-A424-D3D1EE4EF042}">
  <ds:schemaRefs>
    <ds:schemaRef ds:uri="http://schemas.microsoft.com/office/2006/metadata/properties"/>
    <ds:schemaRef ds:uri="http://schemas.microsoft.com/office/2006/documentManagement/types"/>
    <ds:schemaRef ds:uri="127ce643-a8b3-47e4-a695-1375cc17a113"/>
    <ds:schemaRef ds:uri="http://purl.org/dc/terms/"/>
    <ds:schemaRef ds:uri="http://www.w3.org/XML/1998/namespace"/>
    <ds:schemaRef ds:uri="f880f268-aba0-47b7-bab7-c95b09c48f09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0048A81-6F6D-4D69-941F-72A1F42F1D00}">
  <ds:schemaRefs>
    <ds:schemaRef ds:uri="127ce643-a8b3-47e4-a695-1375cc17a113"/>
    <ds:schemaRef ds:uri="f880f268-aba0-47b7-bab7-c95b09c48f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7</Words>
  <Application>Microsoft Office PowerPoint</Application>
  <PresentationFormat>寬螢幕</PresentationFormat>
  <Paragraphs>45</Paragraphs>
  <Slides>5</Slides>
  <Notes>5</Notes>
  <HiddenSlides>0</HiddenSlides>
  <MMClips>0</MMClips>
  <ScaleCrop>false</ScaleCrop>
  <HeadingPairs>
    <vt:vector size="8" baseType="variant">
      <vt:variant>
        <vt:lpstr>使用字型</vt:lpstr>
      </vt:variant>
      <vt:variant>
        <vt:i4>7</vt:i4>
      </vt:variant>
      <vt:variant>
        <vt:lpstr>佈景主題</vt:lpstr>
      </vt:variant>
      <vt:variant>
        <vt:i4>2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5</vt:i4>
      </vt:variant>
    </vt:vector>
  </HeadingPairs>
  <TitlesOfParts>
    <vt:vector size="34" baseType="lpstr">
      <vt:lpstr>Arai</vt:lpstr>
      <vt:lpstr>等线</vt:lpstr>
      <vt:lpstr>UD デジタル 教科書体 NK-R</vt:lpstr>
      <vt:lpstr>Arial</vt:lpstr>
      <vt:lpstr>Calibri</vt:lpstr>
      <vt:lpstr>Roboto Light</vt:lpstr>
      <vt:lpstr>Wingdings</vt:lpstr>
      <vt:lpstr>1_自訂設計</vt:lpstr>
      <vt:lpstr>2_自訂設計</vt:lpstr>
      <vt:lpstr>Office Theme</vt:lpstr>
      <vt:lpstr>4_自訂設計</vt:lpstr>
      <vt:lpstr>3_自訂設計</vt:lpstr>
      <vt:lpstr>5_自訂設計</vt:lpstr>
      <vt:lpstr>6_自訂設計</vt:lpstr>
      <vt:lpstr>7_自訂設計</vt:lpstr>
      <vt:lpstr>8_自訂設計</vt:lpstr>
      <vt:lpstr>10_自訂設計</vt:lpstr>
      <vt:lpstr>9_自訂設計</vt:lpstr>
      <vt:lpstr>11_自訂設計</vt:lpstr>
      <vt:lpstr>12_自訂設計</vt:lpstr>
      <vt:lpstr>1_Office Theme</vt:lpstr>
      <vt:lpstr>13_自訂設計</vt:lpstr>
      <vt:lpstr>14_自訂設計</vt:lpstr>
      <vt:lpstr>15_自訂設計</vt:lpstr>
      <vt:lpstr>16_自訂設計</vt:lpstr>
      <vt:lpstr>自訂設計</vt:lpstr>
      <vt:lpstr>17_自訂設計</vt:lpstr>
      <vt:lpstr>18_自訂設計</vt:lpstr>
      <vt:lpstr>think-cell Slide</vt:lpstr>
      <vt:lpstr>PowerPoint 簡報</vt:lpstr>
      <vt:lpstr>SoftBank inventory management</vt:lpstr>
      <vt:lpstr>Development SKD and Function (1-1)</vt:lpstr>
      <vt:lpstr>Development SKD and Function(1-2)</vt:lpstr>
      <vt:lpstr>      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ay.Jie.Zhou 周潔</dc:creator>
  <cp:lastModifiedBy>BORIS.WANG 王柏樺</cp:lastModifiedBy>
  <cp:revision>215</cp:revision>
  <cp:lastPrinted>2020-11-20T03:39:06Z</cp:lastPrinted>
  <dcterms:created xsi:type="dcterms:W3CDTF">2020-08-18T06:43:21Z</dcterms:created>
  <dcterms:modified xsi:type="dcterms:W3CDTF">2024-11-25T01:5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C6021C3976D4CA92F6921AAF32A87</vt:lpwstr>
  </property>
</Properties>
</file>